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698" r:id="rId2"/>
  </p:sldMasterIdLst>
  <p:notesMasterIdLst>
    <p:notesMasterId r:id="rId34"/>
  </p:notesMasterIdLst>
  <p:sldIdLst>
    <p:sldId id="2147474688" r:id="rId3"/>
    <p:sldId id="2147474719" r:id="rId4"/>
    <p:sldId id="2147474720" r:id="rId5"/>
    <p:sldId id="2147474721" r:id="rId6"/>
    <p:sldId id="2147474722" r:id="rId7"/>
    <p:sldId id="2147474723" r:id="rId8"/>
    <p:sldId id="2147474724" r:id="rId9"/>
    <p:sldId id="2147474725" r:id="rId10"/>
    <p:sldId id="2147474726" r:id="rId11"/>
    <p:sldId id="2147474727" r:id="rId12"/>
    <p:sldId id="2147474729" r:id="rId13"/>
    <p:sldId id="2147474730" r:id="rId14"/>
    <p:sldId id="2147474732" r:id="rId15"/>
    <p:sldId id="2147474731" r:id="rId16"/>
    <p:sldId id="2147474735" r:id="rId17"/>
    <p:sldId id="2147474733" r:id="rId18"/>
    <p:sldId id="2147474737" r:id="rId19"/>
    <p:sldId id="2147474738" r:id="rId20"/>
    <p:sldId id="2147474748" r:id="rId21"/>
    <p:sldId id="2147474740" r:id="rId22"/>
    <p:sldId id="2147474739" r:id="rId23"/>
    <p:sldId id="2147474741" r:id="rId24"/>
    <p:sldId id="2147474742" r:id="rId25"/>
    <p:sldId id="2147474743" r:id="rId26"/>
    <p:sldId id="2147474744" r:id="rId27"/>
    <p:sldId id="2147474745" r:id="rId28"/>
    <p:sldId id="2147474736" r:id="rId29"/>
    <p:sldId id="2147474746" r:id="rId30"/>
    <p:sldId id="2147474747" r:id="rId31"/>
    <p:sldId id="2147474749" r:id="rId32"/>
    <p:sldId id="2147474750" r:id="rId3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F5F5"/>
    <a:srgbClr val="FBE5D6"/>
    <a:srgbClr val="D8EDE5"/>
    <a:srgbClr val="EBF1E9"/>
    <a:srgbClr val="C4D5EB"/>
    <a:srgbClr val="366E43"/>
    <a:srgbClr val="F7364D"/>
    <a:srgbClr val="F85C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3775" autoAdjust="0"/>
  </p:normalViewPr>
  <p:slideViewPr>
    <p:cSldViewPr snapToGrid="0">
      <p:cViewPr varScale="1">
        <p:scale>
          <a:sx n="62" d="100"/>
          <a:sy n="62" d="100"/>
        </p:scale>
        <p:origin x="79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DDA0EA-BE09-40A0-915A-C94E00B9706B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2B03F8-9989-4535-9C29-E834F9E0BF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8519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llo-algo.com/chapter_computational_complexity/time_complexity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A934E-B63D-4252-9CCF-FD53112554B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5252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>
                <a:hlinkClick r:id="rId3"/>
              </a:rPr>
              <a:t>2.3   </a:t>
            </a:r>
            <a:r>
              <a:rPr lang="zh-CN" altLang="en-US" dirty="0">
                <a:hlinkClick r:id="rId3"/>
              </a:rPr>
              <a:t>时间复杂度 </a:t>
            </a:r>
            <a:r>
              <a:rPr lang="en-US" altLang="zh-CN" dirty="0">
                <a:hlinkClick r:id="rId3"/>
              </a:rPr>
              <a:t>- Hello </a:t>
            </a:r>
            <a:r>
              <a:rPr lang="zh-CN" altLang="en-US" dirty="0">
                <a:hlinkClick r:id="rId3"/>
              </a:rPr>
              <a:t>算法 </a:t>
            </a:r>
            <a:r>
              <a:rPr lang="en-US" altLang="zh-CN" dirty="0">
                <a:hlinkClick r:id="rId3"/>
              </a:rPr>
              <a:t>(hello-algo.com)</a:t>
            </a:r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B03F8-9989-4535-9C29-E834F9E0BFD8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4512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B03F8-9989-4535-9C29-E834F9E0BFD8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033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en-US" altLang="zh-CN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Asymptotic:  </a:t>
            </a:r>
            <a:r>
              <a:rPr lang="en-US" altLang="zh-CN" dirty="0">
                <a:solidFill>
                  <a:srgbClr val="848691"/>
                </a:solidFill>
                <a:effectLst/>
                <a:latin typeface="Arial" panose="020B0604020202020204" pitchFamily="34" charset="0"/>
              </a:rPr>
              <a:t>adj.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渐近的；渐近线的</a:t>
            </a:r>
            <a:endParaRPr lang="en-US" altLang="zh-CN" dirty="0">
              <a:solidFill>
                <a:srgbClr val="333333"/>
              </a:solidFill>
              <a:effectLst/>
              <a:latin typeface="Arial" panose="020B0604020202020204" pitchFamily="34" charset="0"/>
            </a:endParaRPr>
          </a:p>
          <a:p>
            <a:pPr latinLnBrk="1"/>
            <a:r>
              <a:rPr lang="zh-CN" altLang="en-US" dirty="0">
                <a:solidFill>
                  <a:srgbClr val="848691"/>
                </a:solidFill>
                <a:effectLst/>
                <a:latin typeface="Arial" panose="020B0604020202020204" pitchFamily="34" charset="0"/>
              </a:rPr>
              <a:t>例句</a:t>
            </a:r>
            <a:r>
              <a:rPr lang="en-US" altLang="zh-CN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It is an asymptotic </a:t>
            </a:r>
            <a:r>
              <a:rPr lang="en-US" altLang="zh-CN" dirty="0">
                <a:solidFill>
                  <a:srgbClr val="1E1F24"/>
                </a:solidFill>
                <a:effectLst/>
                <a:latin typeface="Arial" panose="020B0604020202020204" pitchFamily="34" charset="0"/>
              </a:rPr>
              <a:t>process </a:t>
            </a:r>
            <a:r>
              <a:rPr lang="en-US" altLang="zh-CN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in the </a:t>
            </a:r>
            <a:r>
              <a:rPr lang="en-US" altLang="zh-CN" dirty="0">
                <a:solidFill>
                  <a:srgbClr val="1E1F24"/>
                </a:solidFill>
                <a:effectLst/>
                <a:latin typeface="Arial" panose="020B0604020202020204" pitchFamily="34" charset="0"/>
              </a:rPr>
              <a:t>implementation process</a:t>
            </a:r>
            <a:r>
              <a:rPr lang="en-US" altLang="zh-CN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latinLnBrk="1"/>
            <a:r>
              <a:rPr lang="zh-CN" altLang="en-US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是一个渐近的实现过程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B03F8-9989-4535-9C29-E834F9E0BFD8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6984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026593-C21F-4122-A38D-B279817B5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9119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6405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13A8A-0C78-BA49-9560-E7F4B9147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14" y="6408588"/>
            <a:ext cx="356062" cy="32708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3424A7-CF0C-4646-9009-B134FEDF3C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ea typeface="新細明體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itchFamily="34" charset="0"/>
              <a:ea typeface="新細明體"/>
              <a:cs typeface="+mn-cs"/>
            </a:endParaRPr>
          </a:p>
        </p:txBody>
      </p:sp>
      <p:sp>
        <p:nvSpPr>
          <p:cNvPr id="3" name="标题占位符 1">
            <a:extLst>
              <a:ext uri="{FF2B5EF4-FFF2-40B4-BE49-F238E27FC236}">
                <a16:creationId xmlns:a16="http://schemas.microsoft.com/office/drawing/2014/main" id="{A307DA17-6F06-6744-81EF-5446313F2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305" y="185195"/>
            <a:ext cx="11035496" cy="677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C00000"/>
                </a:solidFill>
                <a:latin typeface="Coca-Cola Care Font KaiTi" panose="020B0A05030303020204" pitchFamily="34" charset="-122"/>
                <a:ea typeface="Coca-Cola Care Font KaiTi" panose="020B0A05030303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图片 5">
            <a:extLst>
              <a:ext uri="{FF2B5EF4-FFF2-40B4-BE49-F238E27FC236}">
                <a16:creationId xmlns:a16="http://schemas.microsoft.com/office/drawing/2014/main" id="{760A2506-AEF7-9F4E-8168-43D43AE88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05" y="6053950"/>
            <a:ext cx="206449" cy="7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8492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两栏内容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3E6E6-F868-48BE-AAE4-FF87355C71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24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3E6E6-F868-48BE-AAE4-FF87355C7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00"/>
            <a:ext cx="11362133" cy="665714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800" b="0" i="0" dirty="0">
                <a:solidFill>
                  <a:srgbClr val="CD061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oppins" panose="00000500000000000000" pitchFamily="2" charset="0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5F5DB92-B441-484F-B7B8-4DEEA120F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5999" y="6604000"/>
            <a:ext cx="95624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CEB24D71-D3CD-4238-8384-7F99D478D4A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B73C34-04B4-0A0F-7A93-A72C261072C6}"/>
              </a:ext>
            </a:extLst>
          </p:cNvPr>
          <p:cNvSpPr/>
          <p:nvPr userDrawn="1"/>
        </p:nvSpPr>
        <p:spPr>
          <a:xfrm>
            <a:off x="0" y="68372"/>
            <a:ext cx="190831" cy="1321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2050429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1839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47D377-ECE1-CA6F-CB3C-5E1ADC5C00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7ABE1EB1-4E6F-EEBC-F290-BC12D4DD26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710FED6-449C-A969-94B3-AC7FFF14FA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8EFDDDE-CD16-53EE-DE05-1B7BDE775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8EF84A7-C2A3-5F3D-153D-D284D0934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44377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96F2CCA-B734-08ED-CF8E-0A0AEFE0C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2B8A4C-97C6-A68B-9A86-7EB86B54E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C71C665-F34B-D01D-2D32-D859AA6D45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7A3E407-1458-CD3F-37F0-238F9B849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EB6389A-AD77-427E-0261-76B874D30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48205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012C1A4-2842-95CA-AF43-27A5DA412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B05EC29-DE7F-472C-CDE3-A9CD9F0D48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48FCA4A-CD56-A08A-1D89-A40EDB5C48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18CA8EF-A60F-A127-F537-05BDE593B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17E1AB3-A1E3-944C-7818-D3ECADA76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55729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18EE0C-9863-C3A2-2B0B-F0786E2DC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EBF00E7-2722-A48C-1839-3D2C613968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4D4F1E9-9FFB-4787-0DDE-ADB82C1C70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10527A1-EB11-BFC2-D150-3FBBDFA6F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C0887D2-F5A3-2266-3E8B-79A5D85C9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7444B03-50ED-2905-93E3-28E8D2B62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6597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D870C5-F44E-6480-9383-744C1C85A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BFB9CD8-2C10-19C9-D58E-3D01E07371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BEDC2D2-2112-668A-AF5C-8B88BF5C30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9464EF04-2907-3109-2691-C811BD7503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34360596-8052-58B7-3EF1-17B8B8FCC53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B31DACF6-362A-1A42-993F-73FB2FF93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085AEA2-618E-1EFF-7B68-BEA9057D1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20F001F-FF2D-E25F-EDA2-0E442D84A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4233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5808D6-A990-C542-6ABA-223424DCF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E2D3E835-358A-6E26-015B-C0232EE66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2434D0C-F662-A2A5-5EA7-45FF538FA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2762DBB-44B2-1DA0-01EB-DEEC431D4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60040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1F1FEA-215A-4DEA-B3DC-665B7ED357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7512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A056013-0528-997F-DF73-130A7FACD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CF5CF34-AF6E-45D9-2A2E-F69DCE1F2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1087751-1CFF-DB8A-8A0A-1C317EF96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1343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E954A9-D015-A60E-2E76-CF602C83E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8EE7848-5B10-A271-9121-183629FC39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8980E01-7AFC-9907-8E16-482F7BB4B3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ACB4C71-A441-96B1-A5E2-F50581226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FECF998-8E9A-5A7C-7D8F-D8B876AFE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8389E2F-02D9-D911-16C8-95D380D8F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72025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1404513-0C43-CFDD-808A-BC1157EE0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1B0C05A7-57B3-0CB5-CA3A-2E6189BF46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E9BE56E-4CE9-E452-104E-972155CDF6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EDBB3D7-0E8F-793D-5DB2-1455DDB48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172FE46-0D9C-A3BF-8BCB-E23072D56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0DC66B9-D532-66F8-3E12-5347F36E8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92047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2438F7-2D1A-047D-92EB-D6E60EDA7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7A446165-7F7B-F685-7752-8A869A1E5E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251A103-5A32-CA49-B5D2-22A34E3B5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55B3BB8-37AA-EC0A-5D99-8FA9261E64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89C35CF-1D01-BC6A-EC13-DF66999CA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21069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35E20189-0380-E5CB-36F5-781034B82CE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288E8B0-0373-5E6D-E23C-EC2B5BE692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DE6CEFE-F4FB-164D-A280-3E109A7242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BC9788C-C05C-1AE4-FFF3-47A98EF07C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82FF942-3CAC-E302-68A8-B2F2F3070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03972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4896678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CCE538E-82D7-4C34-9D1A-0E69C36634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ED40B2-6218-4165-9E6D-BDEEA0D92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8881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>
            <a:extLst>
              <a:ext uri="{FF2B5EF4-FFF2-40B4-BE49-F238E27FC236}">
                <a16:creationId xmlns:a16="http://schemas.microsoft.com/office/drawing/2014/main" id="{415F8D4A-2C38-44E1-AD7A-852EB64EE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>
            <a:extLst>
              <a:ext uri="{FF2B5EF4-FFF2-40B4-BE49-F238E27FC236}">
                <a16:creationId xmlns:a16="http://schemas.microsoft.com/office/drawing/2014/main" id="{AEFF2E74-4A52-4908-A1F2-C760445F6A44}"/>
              </a:ext>
            </a:extLst>
          </p:cNvPr>
          <p:cNvSpPr/>
          <p:nvPr userDrawn="1"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08B9BAFF-618E-49F1-BB87-4F87BD5461AF}"/>
              </a:ext>
            </a:extLst>
          </p:cNvPr>
          <p:cNvSpPr/>
          <p:nvPr userDrawn="1"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DEB58C1-D480-4A97-A225-E6593DFA8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1924C5A-17A2-4DA4-800E-C1DC54D974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36061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3AC7F-1191-4857-AE91-2ED7498B9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C669-7E7D-4023-A631-4CA16CEA1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858CE-7EB9-4491-8A76-219C65EE8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310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AB244F-6394-44F9-9510-7505905D9C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1A4599-A1E8-4318-8106-11D16650F2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90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98401E-A2BB-47D7-B48F-8F0D359D5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>
            <a:extLst>
              <a:ext uri="{FF2B5EF4-FFF2-40B4-BE49-F238E27FC236}">
                <a16:creationId xmlns:a16="http://schemas.microsoft.com/office/drawing/2014/main" id="{73E666A4-54BF-40CB-BF95-3C16C3649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AE07674-001E-4251-BF5B-3A57FB306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DDD69D1A-D907-4FA5-AC94-CA9D447A4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D89E35B-AF1A-4C45-B6DC-D433AE6B61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669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6A3F1A8-37FB-4749-93F5-0A1CDE6F4A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D89D5A8-857A-4D97-B97D-466E1264E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18C58F3-5F9E-4FE0-8A0C-717995C3E3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4143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538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204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7975F7B-AC8C-F4A3-7E31-5DB2EF42E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DEE290A-FBCC-ED19-2ECD-5F9395F90C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6152BE6-4E05-F88E-A1F7-3CEC4FB269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43B6AA-4826-4F3F-8C22-D07E1F83DE4A}" type="datetimeFigureOut">
              <a:rPr lang="zh-CN" altLang="en-US" smtClean="0"/>
              <a:t>2024/9/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63F1FF5-2A97-6E96-1FAD-EAB1E74C78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483D1EE-1D4E-437B-7CAE-94C436CC0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153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47942995-B07F-4636-9A06-C6A104B26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BE06C6E-C44D-B6F3-9A53-4DDF4CA34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09" y="2960716"/>
            <a:ext cx="4571999" cy="23876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altLang="zh-CN" sz="5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me Complexity</a:t>
            </a:r>
            <a:endParaRPr lang="zh-CN" altLang="en-US" sz="54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D67AE1E-4C49-FC03-716E-B770A2466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3809" y="953037"/>
            <a:ext cx="4036333" cy="1709849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时间复杂度</a:t>
            </a:r>
            <a:endParaRPr lang="en-US" altLang="zh-CN" sz="2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984992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Microsoft YaHei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Microsoft YaHei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Microsoft YaHei"/>
                <a:cs typeface="+mn-cs"/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810" y="391886"/>
            <a:ext cx="6009366" cy="60170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pic>
        <p:nvPicPr>
          <p:cNvPr id="8" name="Graphic 7" descr="书籍">
            <a:extLst>
              <a:ext uri="{FF2B5EF4-FFF2-40B4-BE49-F238E27FC236}">
                <a16:creationId xmlns:a16="http://schemas.microsoft.com/office/drawing/2014/main" id="{2AD817C0-6636-2D87-7192-718D6C1D48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74346" y="666729"/>
            <a:ext cx="5249042" cy="524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4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864BB6-9DAB-5F58-0178-8A8DADA93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5 </a:t>
            </a:r>
            <a:r>
              <a:rPr lang="zh-CN" altLang="en-US" dirty="0"/>
              <a:t> 时间复杂度的推算方法</a:t>
            </a:r>
            <a:r>
              <a:rPr lang="en-US" altLang="zh-CN" dirty="0"/>
              <a:t>- </a:t>
            </a:r>
            <a:r>
              <a:rPr lang="zh-CN" altLang="en-US" dirty="0"/>
              <a:t>统计操作数量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F0F067E-094A-57CA-5408-4FC7D9AF1BAD}"/>
                  </a:ext>
                </a:extLst>
              </p:cNvPr>
              <p:cNvSpPr txBox="1"/>
              <p:nvPr/>
            </p:nvSpPr>
            <p:spPr>
              <a:xfrm>
                <a:off x="59680" y="1238068"/>
                <a:ext cx="10842928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-apple-system"/>
                  </a:rPr>
                  <a:t>统计操作数量：</a:t>
                </a:r>
                <a:endParaRPr lang="en-US" altLang="zh-CN" b="1" i="0" dirty="0">
                  <a:solidFill>
                    <a:srgbClr val="1D1D20"/>
                  </a:solidFill>
                  <a:effectLst/>
                  <a:latin typeface="-apple-system"/>
                </a:endParaRPr>
              </a:p>
              <a:p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技巧</a:t>
                </a:r>
                <a:r>
                  <a:rPr lang="en-US" altLang="zh-CN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1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： 忽略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𝑻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𝒏</m:t>
                        </m:r>
                      </m:e>
                    </m:d>
                  </m:oMath>
                </a14:m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中的常数项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技巧</a:t>
                </a:r>
                <a:r>
                  <a:rPr lang="en-US" altLang="zh-CN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2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： 省略</a:t>
                </a:r>
                <a14:m>
                  <m:oMath xmlns:m="http://schemas.openxmlformats.org/officeDocument/2006/math">
                    <m:r>
                      <a:rPr lang="en-US" altLang="zh-CN" b="1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 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𝑻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𝒏</m:t>
                        </m:r>
                      </m:e>
                    </m:d>
                  </m:oMath>
                </a14:m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 中所有系数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</a:p>
              <a:p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技巧</a:t>
                </a:r>
                <a:r>
                  <a:rPr lang="en-US" altLang="zh-CN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3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： 循环嵌套时使用乘法。</a:t>
                </a:r>
                <a:endParaRPr lang="zh-CN" altLang="en-US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F0F067E-094A-57CA-5408-4FC7D9AF1B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80" y="1238068"/>
                <a:ext cx="10842928" cy="1200329"/>
              </a:xfrm>
              <a:prstGeom prst="rect">
                <a:avLst/>
              </a:prstGeom>
              <a:blipFill>
                <a:blip r:embed="rId2"/>
                <a:stretch>
                  <a:fillRect l="-506" t="-2538" b="-710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文本框 2">
            <a:extLst>
              <a:ext uri="{FF2B5EF4-FFF2-40B4-BE49-F238E27FC236}">
                <a16:creationId xmlns:a16="http://schemas.microsoft.com/office/drawing/2014/main" id="{5F2016F7-E6C1-C8F4-3CB0-0CBC0C2155C1}"/>
              </a:ext>
            </a:extLst>
          </p:cNvPr>
          <p:cNvSpPr txBox="1"/>
          <p:nvPr/>
        </p:nvSpPr>
        <p:spPr>
          <a:xfrm>
            <a:off x="59680" y="2610683"/>
            <a:ext cx="6380877" cy="4247317"/>
          </a:xfrm>
          <a:prstGeom prst="rect">
            <a:avLst/>
          </a:prstGeom>
          <a:solidFill>
            <a:srgbClr val="F5F5F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800" b="1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lgorithm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 = 1; 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实际操作数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次，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但可忽略常数 </a:t>
            </a:r>
            <a:r>
              <a:rPr lang="en-US" altLang="zh-CN" dirty="0">
                <a:solidFill>
                  <a:srgbClr val="3F7F5F"/>
                </a:solidFill>
                <a:latin typeface="Consolas" panose="020B0609020204030204" pitchFamily="49" charset="0"/>
              </a:rPr>
              <a:t>+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0</a:t>
            </a:r>
            <a:endParaRPr lang="en-US" altLang="zh-CN" dirty="0">
              <a:solidFill>
                <a:srgbClr val="000000"/>
              </a:solidFill>
              <a:effectLst/>
              <a:highlight>
                <a:srgbClr val="FFFF00"/>
              </a:highlight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 = a + n; 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实际操作数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次，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但可忽略常数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+0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实际操作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2n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次，忽略系数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+n </a:t>
            </a:r>
            <a:endParaRPr lang="zh-CN" altLang="en-US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;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 	</a:t>
            </a: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t &lt;&lt; 0 &lt;&lt; </a:t>
            </a:r>
            <a:r>
              <a:rPr lang="en-US" altLang="zh-CN" b="1" dirty="0">
                <a:solidFill>
                  <a:srgbClr val="642880"/>
                </a:solidFill>
                <a:effectLst/>
                <a:latin typeface="Consolas" panose="020B0609020204030204" pitchFamily="49" charset="0"/>
              </a:rPr>
              <a:t>endl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		</a:t>
            </a: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+ </a:t>
            </a:r>
            <a:r>
              <a:rPr lang="en-US" altLang="zh-CN" dirty="0">
                <a:solidFill>
                  <a:srgbClr val="3F7F5F"/>
                </a:solidFill>
                <a:latin typeface="Consolas" panose="020B0609020204030204" pitchFamily="49" charset="0"/>
              </a:rPr>
              <a:t>n*n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5*n;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</a:t>
            </a: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dirty="0">
                <a:solidFill>
                  <a:srgbClr val="000000"/>
                </a:solidFill>
                <a:latin typeface="Consolas" panose="020B0609020204030204" pitchFamily="49" charset="0"/>
              </a:rPr>
              <a:t>j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dirty="0">
                <a:solidFill>
                  <a:srgbClr val="000000"/>
                </a:solidFill>
                <a:latin typeface="Consolas" panose="020B0609020204030204" pitchFamily="49" charset="0"/>
              </a:rPr>
              <a:t>j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+1; </a:t>
            </a:r>
            <a:r>
              <a:rPr lang="en-US" altLang="zh-CN" dirty="0" err="1">
                <a:solidFill>
                  <a:srgbClr val="000000"/>
                </a:solidFill>
                <a:latin typeface="Consolas" panose="020B0609020204030204" pitchFamily="49" charset="0"/>
              </a:rPr>
              <a:t>j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cout &lt;&lt; 0 &lt;&lt; </a:t>
            </a:r>
            <a:r>
              <a:rPr lang="en-US" altLang="zh-CN" b="1" dirty="0">
                <a:solidFill>
                  <a:srgbClr val="642880"/>
                </a:solidFill>
                <a:effectLst/>
                <a:latin typeface="Consolas" panose="020B0609020204030204" pitchFamily="49" charset="0"/>
              </a:rPr>
              <a:t>endl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	</a:t>
            </a:r>
          </a:p>
          <a:p>
            <a:pPr lvl="1"/>
            <a:r>
              <a:rPr lang="en-US" altLang="zh-CN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	</a:t>
            </a: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6EA7130-7406-BF1B-86DE-A35B31EBAB5C}"/>
              </a:ext>
            </a:extLst>
          </p:cNvPr>
          <p:cNvSpPr txBox="1"/>
          <p:nvPr/>
        </p:nvSpPr>
        <p:spPr>
          <a:xfrm>
            <a:off x="6721547" y="2435744"/>
            <a:ext cx="4974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以下公式展示了使用上述技巧前后的统计</a:t>
            </a:r>
            <a:r>
              <a:rPr lang="zh-CN" altLang="en-US" dirty="0">
                <a:solidFill>
                  <a:srgbClr val="1D1D20"/>
                </a:solidFill>
                <a:latin typeface="-apple-system"/>
              </a:rPr>
              <a:t>过程</a:t>
            </a:r>
            <a:r>
              <a:rPr lang="en-US" altLang="zh-CN" b="0" i="0" dirty="0">
                <a:solidFill>
                  <a:srgbClr val="1D1D20"/>
                </a:solidFill>
                <a:effectLst/>
                <a:latin typeface="-apple-system"/>
              </a:rPr>
              <a:t>: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3BBA879F-68D8-744F-92AB-1C70266C024C}"/>
                  </a:ext>
                </a:extLst>
              </p:cNvPr>
              <p:cNvSpPr txBox="1"/>
              <p:nvPr/>
            </p:nvSpPr>
            <p:spPr>
              <a:xfrm>
                <a:off x="6877877" y="3218943"/>
                <a:ext cx="4818491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𝑻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𝒏</m:t>
                        </m:r>
                      </m:e>
                    </m:d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=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+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+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𝟓</m:t>
                        </m:r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𝒏</m:t>
                        </m:r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+</m:t>
                        </m:r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𝟏</m:t>
                        </m:r>
                      </m:e>
                    </m:d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+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𝟐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∗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𝒏</m:t>
                        </m:r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+</m:t>
                        </m:r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𝟏</m:t>
                        </m:r>
                      </m:e>
                    </m:d>
                  </m:oMath>
                </a14:m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  </a:t>
                </a:r>
                <a:endParaRPr lang="zh-CN" altLang="en-US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3BBA879F-68D8-744F-92AB-1C70266C02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7877" y="3218943"/>
                <a:ext cx="4818491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6F785A3D-B036-1AD4-DDEF-F11EBD89435A}"/>
                  </a:ext>
                </a:extLst>
              </p:cNvPr>
              <p:cNvSpPr txBox="1"/>
              <p:nvPr/>
            </p:nvSpPr>
            <p:spPr>
              <a:xfrm>
                <a:off x="7251590" y="3684189"/>
                <a:ext cx="2152849" cy="3755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  <a:ea typeface="楷体" panose="02010609060101010101" pitchFamily="49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  <m:sup>
                          <m: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p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𝟕</m:t>
                      </m:r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𝟑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6F785A3D-B036-1AD4-DDEF-F11EBD8943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51590" y="3684189"/>
                <a:ext cx="2152849" cy="37555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4CE8173E-59BC-27FA-5E6B-2554C769BA6C}"/>
                  </a:ext>
                </a:extLst>
              </p:cNvPr>
              <p:cNvSpPr txBox="1"/>
              <p:nvPr/>
            </p:nvSpPr>
            <p:spPr>
              <a:xfrm>
                <a:off x="6039667" y="4179830"/>
                <a:ext cx="3364772" cy="3755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  <a:ea typeface="楷体" panose="02010609060101010101" pitchFamily="49" charset="-122"/>
                        </a:rPr>
                        <m:t>𝑻</m:t>
                      </m:r>
                      <m:d>
                        <m:dPr>
                          <m:ctrlP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  <a:ea typeface="楷体" panose="02010609060101010101" pitchFamily="49" charset="-122"/>
                            </a:rPr>
                          </m:ctrlPr>
                        </m:dPr>
                        <m:e>
                          <m: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  <a:ea typeface="楷体" panose="02010609060101010101" pitchFamily="49" charset="-122"/>
                            </a:rPr>
                            <m:t>𝒏</m:t>
                          </m:r>
                        </m:e>
                      </m:d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  <a:ea typeface="楷体" panose="02010609060101010101" pitchFamily="49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  <m:sup>
                          <m: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p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𝒏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4CE8173E-59BC-27FA-5E6B-2554C769BA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39667" y="4179830"/>
                <a:ext cx="3364772" cy="37555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58320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864BB6-9DAB-5F58-0178-8A8DADA93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5 </a:t>
            </a:r>
            <a:r>
              <a:rPr lang="zh-CN" altLang="en-US" dirty="0"/>
              <a:t> 时间复杂度的推算方法</a:t>
            </a:r>
            <a:r>
              <a:rPr lang="en-US" altLang="zh-CN" dirty="0"/>
              <a:t>-</a:t>
            </a:r>
            <a:r>
              <a:rPr lang="zh-CN" altLang="en-US" dirty="0"/>
              <a:t>判断渐近上界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E85712DB-4B5B-30D6-EFE9-7C15C842C3BA}"/>
              </a:ext>
            </a:extLst>
          </p:cNvPr>
          <p:cNvSpPr txBox="1"/>
          <p:nvPr/>
        </p:nvSpPr>
        <p:spPr>
          <a:xfrm>
            <a:off x="128204" y="1258350"/>
            <a:ext cx="61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b="1" i="0" dirty="0">
                <a:solidFill>
                  <a:srgbClr val="1D1D20"/>
                </a:solidFill>
                <a:effectLst/>
                <a:latin typeface="-apple-system"/>
              </a:rPr>
              <a:t>第二步：判断渐近上界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F0F067E-094A-57CA-5408-4FC7D9AF1BAD}"/>
                  </a:ext>
                </a:extLst>
              </p:cNvPr>
              <p:cNvSpPr txBox="1"/>
              <p:nvPr/>
            </p:nvSpPr>
            <p:spPr>
              <a:xfrm>
                <a:off x="128204" y="1870817"/>
                <a:ext cx="10842928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时间复杂度 由</a:t>
                </a:r>
                <a14:m>
                  <m:oMath xmlns:m="http://schemas.openxmlformats.org/officeDocument/2006/math">
                    <m:r>
                      <a:rPr lang="en-US" altLang="zh-CN" b="1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 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𝑻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𝒏</m:t>
                        </m:r>
                      </m:e>
                    </m:d>
                  </m:oMath>
                </a14:m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  <a:r>
                  <a:rPr lang="en-US" altLang="zh-CN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中最高阶的项来决定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。这是因为在 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n 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趋于无穷大时，最高阶的项将发挥主导作用，其他项的影响都可以忽略。</a:t>
                </a:r>
              </a:p>
              <a:p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表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2-2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展示了一些例子，其中一些夸张的值是为了强调“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系数无法撼动阶数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”这一结论。当 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n 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趋于无穷大时，这些常数变得无足轻重。</a:t>
                </a: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F0F067E-094A-57CA-5408-4FC7D9AF1B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204" y="1870817"/>
                <a:ext cx="10842928" cy="1200329"/>
              </a:xfrm>
              <a:prstGeom prst="rect">
                <a:avLst/>
              </a:prstGeom>
              <a:blipFill>
                <a:blip r:embed="rId2"/>
                <a:stretch>
                  <a:fillRect l="-450" t="-4569" r="-393" b="-710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>
            <a:extLst>
              <a:ext uri="{FF2B5EF4-FFF2-40B4-BE49-F238E27FC236}">
                <a16:creationId xmlns:a16="http://schemas.microsoft.com/office/drawing/2014/main" id="{DF0A87A8-DE9D-C9F5-AFAA-B3AC9DDD3C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0407" y="3210914"/>
            <a:ext cx="4264432" cy="3426776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81A847B0-D484-89A9-9203-EE6285F3FE36}"/>
              </a:ext>
            </a:extLst>
          </p:cNvPr>
          <p:cNvSpPr txBox="1"/>
          <p:nvPr/>
        </p:nvSpPr>
        <p:spPr>
          <a:xfrm>
            <a:off x="361829" y="3557416"/>
            <a:ext cx="61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表 </a:t>
            </a:r>
            <a:r>
              <a:rPr lang="en-US" altLang="zh-CN" b="0" i="0" dirty="0">
                <a:solidFill>
                  <a:srgbClr val="1D1D20"/>
                </a:solidFill>
                <a:effectLst/>
                <a:latin typeface="-apple-system"/>
              </a:rPr>
              <a:t>2-2   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不同操作数量对应的时间复杂度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524726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864BB6-9DAB-5F58-0178-8A8DADA93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 </a:t>
            </a:r>
            <a:r>
              <a:rPr lang="zh-CN" altLang="en-US" dirty="0"/>
              <a:t> 常见时间复杂度类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F0F067E-094A-57CA-5408-4FC7D9AF1BAD}"/>
                  </a:ext>
                </a:extLst>
              </p:cNvPr>
              <p:cNvSpPr txBox="1"/>
              <p:nvPr/>
            </p:nvSpPr>
            <p:spPr>
              <a:xfrm>
                <a:off x="96399" y="1177051"/>
                <a:ext cx="10842928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设输入数据大小为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，常见的时间复杂度类型如图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2-9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所示（按照从低到高的顺序排列）</a:t>
                </a: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F0F067E-094A-57CA-5408-4FC7D9AF1B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399" y="1177051"/>
                <a:ext cx="10842928" cy="369332"/>
              </a:xfrm>
              <a:prstGeom prst="rect">
                <a:avLst/>
              </a:prstGeom>
              <a:blipFill>
                <a:blip r:embed="rId2"/>
                <a:stretch>
                  <a:fillRect l="-506" t="-11475" b="-2131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>
            <a:extLst>
              <a:ext uri="{FF2B5EF4-FFF2-40B4-BE49-F238E27FC236}">
                <a16:creationId xmlns:a16="http://schemas.microsoft.com/office/drawing/2014/main" id="{F04EBCC4-CFE7-9156-F164-C41053EBE2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542" y="1742012"/>
            <a:ext cx="7372350" cy="78105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9F5F325B-B46B-88E7-3103-AE5E432E4F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9589" y="2828112"/>
            <a:ext cx="8159238" cy="360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0029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2 </a:t>
            </a:r>
            <a:r>
              <a:rPr lang="zh-CN" altLang="en-US" dirty="0"/>
              <a:t>常见类型 </a:t>
            </a:r>
            <a:r>
              <a:rPr lang="en-US" altLang="zh-CN" dirty="0"/>
              <a:t>-</a:t>
            </a:r>
            <a:r>
              <a:rPr lang="zh-CN" altLang="en-US" dirty="0"/>
              <a:t>常数阶、常数阶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170997" y="1140913"/>
                <a:ext cx="12256891" cy="86857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1" dirty="0"/>
                  <a:t>常数阶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zh-CN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:  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常数阶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的操作数量与输入数据大小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zh-CN" altLang="en-US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 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无关，即不随着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的变化而变化。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在以下函数中，尽管操作数量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size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可能很大，但由于其与输入数据大小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无关，因此时间复杂度仍为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：</a:t>
                </a: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997" y="1140913"/>
                <a:ext cx="12256891" cy="868571"/>
              </a:xfrm>
              <a:prstGeom prst="rect">
                <a:avLst/>
              </a:prstGeom>
              <a:blipFill>
                <a:blip r:embed="rId2"/>
                <a:stretch>
                  <a:fillRect l="-398" b="-839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框 5">
            <a:extLst>
              <a:ext uri="{FF2B5EF4-FFF2-40B4-BE49-F238E27FC236}">
                <a16:creationId xmlns:a16="http://schemas.microsoft.com/office/drawing/2014/main" id="{0B63E019-3933-82AE-0779-9AC8024DDBF4}"/>
              </a:ext>
            </a:extLst>
          </p:cNvPr>
          <p:cNvSpPr txBox="1"/>
          <p:nvPr/>
        </p:nvSpPr>
        <p:spPr>
          <a:xfrm>
            <a:off x="242560" y="2053941"/>
            <a:ext cx="4628510" cy="2339102"/>
          </a:xfrm>
          <a:prstGeom prst="rect">
            <a:avLst/>
          </a:prstGeom>
          <a:solidFill>
            <a:srgbClr val="F5F5F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600" b="0" i="0" dirty="0">
                <a:effectLst/>
                <a:latin typeface="Fira Code" panose="020B0809050000020004" pitchFamily="49" charset="0"/>
              </a:rPr>
              <a:t>/* </a:t>
            </a:r>
            <a:r>
              <a:rPr lang="zh-CN" altLang="en-US" sz="1600" b="0" i="0" dirty="0">
                <a:effectLst/>
                <a:latin typeface="Fira Code" panose="020B0809050000020004" pitchFamily="49" charset="0"/>
              </a:rPr>
              <a:t>常数阶 *</a:t>
            </a:r>
            <a:r>
              <a:rPr lang="en-US" altLang="zh-CN" sz="1600" b="0" i="0" dirty="0">
                <a:effectLst/>
                <a:latin typeface="Fira Code" panose="020B0809050000020004" pitchFamily="49" charset="0"/>
              </a:rPr>
              <a:t>/</a:t>
            </a:r>
            <a:endParaRPr lang="en-US" altLang="zh-CN" sz="1600" b="1" dirty="0">
              <a:solidFill>
                <a:srgbClr val="7F0055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b="1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lgorithmA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 </a:t>
            </a:r>
            <a:r>
              <a:rPr lang="en-US" altLang="zh-CN" sz="160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count = 0 ;</a:t>
            </a:r>
          </a:p>
          <a:p>
            <a:pPr lvl="1"/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ize = 50000; </a:t>
            </a:r>
            <a:r>
              <a:rPr lang="en-US" altLang="zh-CN" sz="16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</a:t>
            </a:r>
            <a:endParaRPr lang="zh-CN" altLang="en-US" sz="16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sz="16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size; </a:t>
            </a:r>
            <a:r>
              <a:rPr lang="en-US" altLang="zh-CN" sz="16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 </a:t>
            </a:r>
          </a:p>
          <a:p>
            <a:pPr lvl="1"/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+; 		</a:t>
            </a:r>
            <a:r>
              <a:rPr lang="en-US" altLang="zh-CN" sz="16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</a:t>
            </a:r>
            <a:endParaRPr lang="en-US" altLang="zh-CN" sz="16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r>
              <a:rPr lang="en-US" altLang="zh-CN" sz="1600" dirty="0">
                <a:solidFill>
                  <a:srgbClr val="000000"/>
                </a:solidFill>
                <a:latin typeface="Consolas" panose="020B0609020204030204" pitchFamily="49" charset="0"/>
              </a:rPr>
              <a:t>return count;</a:t>
            </a:r>
            <a:endParaRPr lang="en-US" altLang="zh-CN" sz="16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0071DD0A-62B0-56AA-2EF5-F5D2A4EA144E}"/>
                  </a:ext>
                </a:extLst>
              </p:cNvPr>
              <p:cNvSpPr txBox="1"/>
              <p:nvPr/>
            </p:nvSpPr>
            <p:spPr>
              <a:xfrm>
                <a:off x="242560" y="4599982"/>
                <a:ext cx="6174144" cy="21229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1" dirty="0"/>
                  <a:t>线性阶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zh-CN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: 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线性阶的操作数量相对于输入数据大小 </a:t>
                </a:r>
                <a14:m>
                  <m:oMath xmlns:m="http://schemas.openxmlformats.org/officeDocument/2006/math">
                    <m:r>
                      <a:rPr lang="en-US" altLang="zh-CN" dirty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以线性级别增长。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线性阶通常出现在单层循环中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遍历数组和遍历链表等操作的时间复杂度均为 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O(n) 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，其中 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n 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为数组或链表的长度：</a:t>
                </a: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0071DD0A-62B0-56AA-2EF5-F5D2A4EA14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2560" y="4599982"/>
                <a:ext cx="6174144" cy="2122953"/>
              </a:xfrm>
              <a:prstGeom prst="rect">
                <a:avLst/>
              </a:prstGeom>
              <a:blipFill>
                <a:blip r:embed="rId3"/>
                <a:stretch>
                  <a:fillRect l="-691" b="-287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本框 7">
            <a:extLst>
              <a:ext uri="{FF2B5EF4-FFF2-40B4-BE49-F238E27FC236}">
                <a16:creationId xmlns:a16="http://schemas.microsoft.com/office/drawing/2014/main" id="{2B562960-1A2B-7558-CA36-8E2F556623C2}"/>
              </a:ext>
            </a:extLst>
          </p:cNvPr>
          <p:cNvSpPr txBox="1"/>
          <p:nvPr/>
        </p:nvSpPr>
        <p:spPr>
          <a:xfrm>
            <a:off x="7046864" y="2537879"/>
            <a:ext cx="4628510" cy="2062103"/>
          </a:xfrm>
          <a:prstGeom prst="rect">
            <a:avLst/>
          </a:prstGeom>
          <a:solidFill>
            <a:srgbClr val="F5F5F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600" b="0" i="0" dirty="0">
                <a:effectLst/>
                <a:latin typeface="Fira Code" panose="020B0809050000020004" pitchFamily="49" charset="0"/>
              </a:rPr>
              <a:t>/*</a:t>
            </a:r>
            <a:r>
              <a:rPr lang="zh-CN" altLang="en-US" sz="1600" b="0" i="0" dirty="0">
                <a:effectLst/>
                <a:latin typeface="Fira Code" panose="020B0809050000020004" pitchFamily="49" charset="0"/>
              </a:rPr>
              <a:t>线性阶 *</a:t>
            </a:r>
            <a:r>
              <a:rPr lang="en-US" altLang="zh-CN" sz="1600" b="0" i="0" dirty="0">
                <a:effectLst/>
                <a:latin typeface="Fira Code" panose="020B0809050000020004" pitchFamily="49" charset="0"/>
              </a:rPr>
              <a:t>/</a:t>
            </a:r>
            <a:endParaRPr lang="en-US" altLang="zh-CN" sz="1600" b="1" dirty="0">
              <a:solidFill>
                <a:srgbClr val="7F0055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b="1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lgorithmB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 </a:t>
            </a:r>
            <a:r>
              <a:rPr lang="en-US" altLang="zh-CN" sz="160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count = 0 ;</a:t>
            </a:r>
          </a:p>
          <a:p>
            <a:pPr lvl="1"/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sz="16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; </a:t>
            </a:r>
            <a:r>
              <a:rPr lang="en-US" altLang="zh-CN" sz="16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 </a:t>
            </a:r>
          </a:p>
          <a:p>
            <a:pPr lvl="1"/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++; 		</a:t>
            </a:r>
            <a:r>
              <a:rPr lang="en-US" altLang="zh-CN" sz="16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</a:t>
            </a:r>
            <a:endParaRPr lang="en-US" altLang="zh-CN" sz="16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r>
              <a:rPr lang="en-US" altLang="zh-CN" sz="1600" dirty="0">
                <a:solidFill>
                  <a:srgbClr val="000000"/>
                </a:solidFill>
                <a:latin typeface="Consolas" panose="020B0609020204030204" pitchFamily="49" charset="0"/>
              </a:rPr>
              <a:t>return count;</a:t>
            </a:r>
            <a:endParaRPr lang="en-US" altLang="zh-CN" sz="16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A470B20-1D3A-3643-4FDC-940AFE48222F}"/>
              </a:ext>
            </a:extLst>
          </p:cNvPr>
          <p:cNvSpPr txBox="1"/>
          <p:nvPr/>
        </p:nvSpPr>
        <p:spPr>
          <a:xfrm>
            <a:off x="7046864" y="4686035"/>
            <a:ext cx="4628510" cy="2062103"/>
          </a:xfrm>
          <a:prstGeom prst="rect">
            <a:avLst/>
          </a:prstGeom>
          <a:solidFill>
            <a:srgbClr val="F5F5F5"/>
          </a:solidFill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/* </a:t>
            </a:r>
            <a:r>
              <a:rPr lang="zh-CN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线性阶（遍历数组）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*/</a:t>
            </a:r>
            <a:endParaRPr lang="zh-CN" altLang="zh-CN" sz="200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</a:t>
            </a:r>
            <a:r>
              <a:rPr lang="en-US" altLang="zh-CN" sz="1400" b="1" dirty="0" err="1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arrayTraversal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*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nums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, 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n) {</a:t>
            </a:r>
            <a:endParaRPr lang="zh-CN" altLang="zh-CN" sz="200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   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count = 0;</a:t>
            </a:r>
            <a:endParaRPr lang="zh-CN" altLang="zh-CN" sz="200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  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// </a:t>
            </a:r>
            <a:r>
              <a:rPr lang="zh-CN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循环次数与数组长度成正比</a:t>
            </a:r>
            <a:endParaRPr lang="zh-CN" altLang="zh-CN" sz="200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   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= 0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&lt; n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++) {</a:t>
            </a:r>
            <a:endParaRPr lang="zh-CN" altLang="zh-CN" sz="200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       count++;</a:t>
            </a:r>
            <a:endParaRPr lang="zh-CN" altLang="zh-CN" sz="200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   }</a:t>
            </a:r>
            <a:endParaRPr lang="zh-CN" altLang="zh-CN" sz="200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   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 count;</a:t>
            </a:r>
            <a:endParaRPr lang="zh-CN" altLang="zh-CN" sz="200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ea typeface="宋体" panose="02010600030101010101" pitchFamily="2" charset="-122"/>
                <a:cs typeface="宋体" panose="02010600030101010101" pitchFamily="2" charset="-122"/>
              </a:rPr>
              <a:t>}</a:t>
            </a:r>
            <a:endParaRPr lang="zh-CN" altLang="zh-CN" sz="200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91635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7" grpId="0"/>
      <p:bldP spid="8" grpId="0" animBg="1"/>
      <p:bldP spid="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3 </a:t>
            </a:r>
            <a:r>
              <a:rPr lang="zh-CN" altLang="en-US" dirty="0"/>
              <a:t>常见类型 </a:t>
            </a:r>
            <a:r>
              <a:rPr lang="en-US" altLang="zh-CN" dirty="0"/>
              <a:t>-</a:t>
            </a:r>
            <a:r>
              <a:rPr lang="zh-CN" altLang="en-US" dirty="0"/>
              <a:t>平方阶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170998" y="1140913"/>
                <a:ext cx="7406596" cy="17665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1" dirty="0"/>
                  <a:t>平方阶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b="1" i="1" dirty="0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p>
                        <m:r>
                          <a:rPr lang="en-US" altLang="zh-CN" b="1" i="1" dirty="0"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zh-CN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: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平方阶的操作数量相对于输入数据大小 </a:t>
                </a:r>
                <a:r>
                  <a:rPr lang="en-US" altLang="zh-CN" b="1" dirty="0">
                    <a:ea typeface="楷体" panose="02010609060101010101" pitchFamily="49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 </m:t>
                    </m:r>
                  </m:oMath>
                </a14:m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以平方级别增长。 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平方阶通常出现在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嵌套循环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中，外层循环和内层循环的时间复杂度都为 </a:t>
                </a:r>
                <a:r>
                  <a:rPr lang="en-US" altLang="zh-CN" b="1" dirty="0"/>
                  <a:t>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，因此总体的时间复杂度为 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p>
                        <m:r>
                          <a:rPr lang="en-US" altLang="zh-CN" b="1" i="1" dirty="0"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：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998" y="1140913"/>
                <a:ext cx="7406596" cy="1766509"/>
              </a:xfrm>
              <a:prstGeom prst="rect">
                <a:avLst/>
              </a:prstGeom>
              <a:blipFill>
                <a:blip r:embed="rId2"/>
                <a:stretch>
                  <a:fillRect l="-494" b="-34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文本框 9">
            <a:extLst>
              <a:ext uri="{FF2B5EF4-FFF2-40B4-BE49-F238E27FC236}">
                <a16:creationId xmlns:a16="http://schemas.microsoft.com/office/drawing/2014/main" id="{5956D43C-4F3B-02E4-3E30-DEDFB86759C9}"/>
              </a:ext>
            </a:extLst>
          </p:cNvPr>
          <p:cNvSpPr txBox="1"/>
          <p:nvPr/>
        </p:nvSpPr>
        <p:spPr>
          <a:xfrm>
            <a:off x="7768423" y="1280906"/>
            <a:ext cx="4079019" cy="2462213"/>
          </a:xfrm>
          <a:prstGeom prst="rect">
            <a:avLst/>
          </a:prstGeom>
          <a:solidFill>
            <a:srgbClr val="F5F5F5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平方阶 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quadratic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 = 0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循环次数与数据大小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成平方关系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</a:t>
            </a:r>
          </a:p>
          <a:p>
            <a:pPr lvl="2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j = 0; j &lt; n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j++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lvl="2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nt++;</a:t>
            </a:r>
          </a:p>
          <a:p>
            <a:pPr lvl="2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247450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3 </a:t>
            </a:r>
            <a:r>
              <a:rPr lang="zh-CN" altLang="en-US" dirty="0"/>
              <a:t>常见类型</a:t>
            </a:r>
            <a:r>
              <a:rPr lang="en-US" altLang="zh-CN" dirty="0"/>
              <a:t>-</a:t>
            </a:r>
            <a:r>
              <a:rPr lang="zh-CN" altLang="en-US" dirty="0"/>
              <a:t>平方阶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7060758" y="2715889"/>
                <a:ext cx="4842345" cy="177625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以冒泡排序为例，外层循环执行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−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，内层循环执行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−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、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−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𝟐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、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−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𝟑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，</a:t>
                </a:r>
                <a:r>
                  <a:rPr lang="en-US" altLang="zh-CN" b="1" dirty="0">
                    <a:ea typeface="楷体" panose="02010609060101010101" pitchFamily="49" charset="-122"/>
                  </a:rPr>
                  <a:t> 2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、</a:t>
                </a:r>
                <a:r>
                  <a:rPr lang="en-US" altLang="zh-CN" b="1" dirty="0">
                    <a:ea typeface="楷体" panose="02010609060101010101" pitchFamily="49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，平均为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/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𝟐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，因此时间复杂度为：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𝑶</m:t>
                    </m:r>
                    <m:d>
                      <m:dPr>
                        <m:ctrlP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d>
                          <m:dPr>
                            <m:ctrlP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  <m: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  <m:t>𝟏</m:t>
                            </m:r>
                          </m:e>
                        </m:d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𝒏</m:t>
                        </m:r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  <m:r>
                      <m:rPr>
                        <m:nor/>
                      </m:rPr>
                      <a:rPr lang="en-US" altLang="zh-CN" dirty="0">
                        <a:latin typeface="楷体" panose="02010609060101010101" pitchFamily="49" charset="-122"/>
                        <a:ea typeface="楷体" panose="02010609060101010101" pitchFamily="49" charset="-122"/>
                      </a:rPr>
                      <m:t> 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=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p>
                        <m:r>
                          <a:rPr lang="en-US" altLang="zh-CN" b="1" i="1" dirty="0"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60758" y="2715889"/>
                <a:ext cx="4842345" cy="1776255"/>
              </a:xfrm>
              <a:prstGeom prst="rect">
                <a:avLst/>
              </a:prstGeom>
              <a:blipFill>
                <a:blip r:embed="rId2"/>
                <a:stretch>
                  <a:fillRect l="-755" r="-5660" b="-27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文本框 11">
            <a:extLst>
              <a:ext uri="{FF2B5EF4-FFF2-40B4-BE49-F238E27FC236}">
                <a16:creationId xmlns:a16="http://schemas.microsoft.com/office/drawing/2014/main" id="{173D9C39-CC5A-FAE9-5855-0A2A462168E4}"/>
              </a:ext>
            </a:extLst>
          </p:cNvPr>
          <p:cNvSpPr txBox="1"/>
          <p:nvPr/>
        </p:nvSpPr>
        <p:spPr>
          <a:xfrm>
            <a:off x="0" y="1015215"/>
            <a:ext cx="7060758" cy="5874685"/>
          </a:xfrm>
          <a:prstGeom prst="rect">
            <a:avLst/>
          </a:prstGeom>
          <a:solidFill>
            <a:srgbClr val="F5F5F5"/>
          </a:solidFill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平方阶（冒泡排序） 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ubbleSor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*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>
              <a:lnSpc>
                <a:spcPct val="150000"/>
              </a:lnSpc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 = 0;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计数器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>
              <a:lnSpc>
                <a:spcPct val="150000"/>
              </a:lnSpc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外循环：未排序区间为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[0, </a:t>
            </a:r>
            <a:r>
              <a:rPr lang="en-US" altLang="zh-CN" sz="14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]</a:t>
            </a:r>
            <a:endParaRPr lang="en-US" altLang="zh-CN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>
              <a:lnSpc>
                <a:spcPct val="150000"/>
              </a:lnSpc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n - 1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gt; 0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--) {</a:t>
            </a:r>
          </a:p>
          <a:p>
            <a:pPr lvl="2">
              <a:lnSpc>
                <a:spcPct val="150000"/>
              </a:lnSpc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内循环：将未排序区间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[0, </a:t>
            </a:r>
            <a:r>
              <a:rPr lang="en-US" altLang="zh-CN" sz="14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]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中的最大元素交换至该区间的最右端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2">
              <a:lnSpc>
                <a:spcPct val="150000"/>
              </a:lnSpc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j = 0; j &lt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j++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lvl="3">
              <a:lnSpc>
                <a:spcPct val="150000"/>
              </a:lnSpc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j] &gt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j + 1]) {</a:t>
            </a:r>
          </a:p>
          <a:p>
            <a:pPr lvl="4">
              <a:lnSpc>
                <a:spcPct val="150000"/>
              </a:lnSpc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交换 </a:t>
            </a:r>
            <a:r>
              <a:rPr lang="en-US" altLang="zh-CN" sz="1400" u="sng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[j]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与 </a:t>
            </a:r>
            <a:r>
              <a:rPr lang="en-US" altLang="zh-CN" sz="1400" u="sng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[j + 1]</a:t>
            </a:r>
            <a:endParaRPr lang="en-US" altLang="zh-CN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4">
              <a:lnSpc>
                <a:spcPct val="150000"/>
              </a:lnSpc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mp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j];</a:t>
            </a:r>
          </a:p>
          <a:p>
            <a:pPr lvl="4">
              <a:lnSpc>
                <a:spcPct val="150000"/>
              </a:lnSpc>
            </a:pP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j] =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j + 1];</a:t>
            </a:r>
          </a:p>
          <a:p>
            <a:pPr lvl="4">
              <a:lnSpc>
                <a:spcPct val="150000"/>
              </a:lnSpc>
            </a:pP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j + 1] =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mp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lvl="4">
              <a:lnSpc>
                <a:spcPct val="150000"/>
              </a:lnSpc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nt += 3;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元素交换包含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3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个单元操作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4">
              <a:lnSpc>
                <a:spcPct val="150000"/>
              </a:lnSpc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3">
              <a:lnSpc>
                <a:spcPct val="150000"/>
              </a:lnSpc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2">
              <a:lnSpc>
                <a:spcPct val="150000"/>
              </a:lnSpc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>
              <a:lnSpc>
                <a:spcPct val="150000"/>
              </a:lnSpc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;</a:t>
            </a: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89436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3 </a:t>
            </a:r>
            <a:r>
              <a:rPr lang="zh-CN" altLang="en-US" dirty="0"/>
              <a:t>常见类型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B7E120B-B75C-A7FC-3223-72E6BBFFF0BD}"/>
              </a:ext>
            </a:extLst>
          </p:cNvPr>
          <p:cNvSpPr txBox="1"/>
          <p:nvPr/>
        </p:nvSpPr>
        <p:spPr>
          <a:xfrm>
            <a:off x="170998" y="1140913"/>
            <a:ext cx="7406596" cy="442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对比了常数阶、线性阶和平方阶三种时间复杂度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E17D96E-B623-B1D8-F945-785875C7ED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2553" y="1583790"/>
            <a:ext cx="6668369" cy="3962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2935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3 </a:t>
            </a:r>
            <a:r>
              <a:rPr lang="zh-CN" altLang="en-US" dirty="0"/>
              <a:t>常见类型 </a:t>
            </a:r>
            <a:r>
              <a:rPr lang="en-US" altLang="zh-CN" dirty="0"/>
              <a:t>–</a:t>
            </a:r>
            <a:r>
              <a:rPr lang="zh-CN" altLang="en-US" dirty="0"/>
              <a:t>指数阶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170998" y="1140913"/>
                <a:ext cx="11745954" cy="8758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指数阶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b="1" i="1" dirty="0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𝒏</m:t>
                        </m:r>
                      </m:sup>
                    </m:sSup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zh-CN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: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生物学的“细胞分裂”是指数阶增长的典型例子：初始状态为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1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个细胞，分裂一轮后变为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2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个，分裂两轮后变为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4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个，以此类推，分裂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轮后有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lang="en-US" altLang="zh-CN" b="1" i="1" dirty="0" smtClean="0">
                            <a:latin typeface="Cambria Math" panose="02040503050406030204" pitchFamily="18" charset="0"/>
                          </a:rPr>
                          <m:t>𝒏</m:t>
                        </m:r>
                      </m:sup>
                    </m:sSup>
                  </m:oMath>
                </a14:m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个细胞。 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998" y="1140913"/>
                <a:ext cx="11745954" cy="875881"/>
              </a:xfrm>
              <a:prstGeom prst="rect">
                <a:avLst/>
              </a:prstGeom>
              <a:blipFill>
                <a:blip r:embed="rId2"/>
                <a:stretch>
                  <a:fillRect l="-311" b="-763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文本框 6">
            <a:extLst>
              <a:ext uri="{FF2B5EF4-FFF2-40B4-BE49-F238E27FC236}">
                <a16:creationId xmlns:a16="http://schemas.microsoft.com/office/drawing/2014/main" id="{1E7D106A-1F81-6DDE-C255-90EAA086A2EE}"/>
              </a:ext>
            </a:extLst>
          </p:cNvPr>
          <p:cNvSpPr txBox="1"/>
          <p:nvPr/>
        </p:nvSpPr>
        <p:spPr>
          <a:xfrm>
            <a:off x="1028371" y="2265315"/>
            <a:ext cx="6106602" cy="3108543"/>
          </a:xfrm>
          <a:prstGeom prst="rect">
            <a:avLst/>
          </a:prstGeom>
          <a:solidFill>
            <a:srgbClr val="F5F5F5"/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指数阶（循环实现） 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ponential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 = 0;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bas = 1;</a:t>
            </a:r>
          </a:p>
          <a:p>
            <a:pPr lvl="1"/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细胞每轮一分为二，形成数列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1, 2, 4, 8, ..., 2^(n-1)</a:t>
            </a:r>
            <a:endParaRPr lang="en-US" altLang="zh-CN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</a:t>
            </a:r>
          </a:p>
          <a:p>
            <a:pPr lvl="2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j = 0; j &lt; bas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j++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pPr lvl="2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nt++;</a:t>
            </a:r>
          </a:p>
          <a:p>
            <a:pPr lvl="2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2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as *= 2;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count = 1 + 2 + 4 + 8 + .. + 2^(n-1) = 2^n - 1</a:t>
            </a:r>
            <a:endParaRPr lang="en-US" altLang="zh-CN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5578524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3 </a:t>
            </a:r>
            <a:r>
              <a:rPr lang="zh-CN" altLang="en-US" dirty="0"/>
              <a:t>常见类型 </a:t>
            </a:r>
            <a:r>
              <a:rPr lang="en-US" altLang="zh-CN" dirty="0"/>
              <a:t>–</a:t>
            </a:r>
            <a:r>
              <a:rPr lang="zh-CN" altLang="en-US" dirty="0"/>
              <a:t>指数阶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0" y="1015215"/>
                <a:ext cx="5220970" cy="12738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在实际算法中，指数阶常出现于递归函数中。例如在以下代码中，其递归地一分为二，经过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n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次分裂后停止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1015215"/>
                <a:ext cx="5220970" cy="1273875"/>
              </a:xfrm>
              <a:prstGeom prst="rect">
                <a:avLst/>
              </a:prstGeom>
              <a:blipFill>
                <a:blip r:embed="rId2"/>
                <a:stretch>
                  <a:fillRect l="-701" r="-1869" b="-669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42" name="Picture 2">
            <a:extLst>
              <a:ext uri="{FF2B5EF4-FFF2-40B4-BE49-F238E27FC236}">
                <a16:creationId xmlns:a16="http://schemas.microsoft.com/office/drawing/2014/main" id="{A70BE195-89E0-CB8E-4E73-B4EA6D0CFF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2"/>
          <a:stretch/>
        </p:blipFill>
        <p:spPr bwMode="auto">
          <a:xfrm>
            <a:off x="5004618" y="1225097"/>
            <a:ext cx="7103166" cy="4491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0EB3A380-E516-97B6-C923-C12F76530630}"/>
              </a:ext>
            </a:extLst>
          </p:cNvPr>
          <p:cNvSpPr txBox="1"/>
          <p:nvPr/>
        </p:nvSpPr>
        <p:spPr>
          <a:xfrm>
            <a:off x="212697" y="2310199"/>
            <a:ext cx="4791921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指数阶（递归实现） 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pRecu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n == 1)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	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1;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pRecu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-1) +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xpRecu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-1)+ 1;</a:t>
            </a:r>
          </a:p>
          <a:p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ED437E48-5925-C2CD-5853-3FF48EAAA380}"/>
              </a:ext>
            </a:extLst>
          </p:cNvPr>
          <p:cNvSpPr txBox="1"/>
          <p:nvPr/>
        </p:nvSpPr>
        <p:spPr>
          <a:xfrm>
            <a:off x="212696" y="4578077"/>
            <a:ext cx="479192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指数阶增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长非常迅速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，在穷举法（暴力搜索、回溯等）中比较常见。</a:t>
            </a:r>
            <a:endParaRPr lang="en-US" altLang="zh-CN" b="0" i="0" dirty="0">
              <a:solidFill>
                <a:srgbClr val="1D1D20"/>
              </a:solidFill>
              <a:effectLst/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对于数据规模较大的问题，指数阶是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不可接受的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，通常需要使用动态规划或贪婪算法等来解决。</a:t>
            </a:r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166876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FB37F32-7EC8-F423-2591-9D6F6F0B4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CDF1578-4A2B-534B-2D0E-592152DD90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938" y="1269657"/>
            <a:ext cx="5560903" cy="2651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3629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6212E92-EDAA-E083-F14F-B377381EC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时间复杂度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701E2D8-307E-6F19-0D43-42651010825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53224" y="1253331"/>
            <a:ext cx="11370365" cy="1815872"/>
          </a:xfrm>
        </p:spPr>
        <p:txBody>
          <a:bodyPr/>
          <a:lstStyle/>
          <a:p>
            <a:r>
              <a:rPr lang="zh-CN" altLang="en-US" dirty="0">
                <a:solidFill>
                  <a:srgbClr val="1D1D20"/>
                </a:solidFill>
                <a:latin typeface="-apple-system"/>
              </a:rPr>
              <a:t>如何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预估一段代码的运行时间？</a:t>
            </a:r>
            <a:endParaRPr lang="en-US" altLang="zh-CN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F623221-8397-4237-5A1C-04951CCCEF28}"/>
              </a:ext>
            </a:extLst>
          </p:cNvPr>
          <p:cNvSpPr txBox="1"/>
          <p:nvPr/>
        </p:nvSpPr>
        <p:spPr>
          <a:xfrm>
            <a:off x="769950" y="1871396"/>
            <a:ext cx="1010743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zh-CN" altLang="en-US" b="1" i="0" dirty="0">
                <a:solidFill>
                  <a:srgbClr val="1D1D20"/>
                </a:solidFill>
                <a:effectLst/>
                <a:latin typeface="-apple-system"/>
              </a:rPr>
              <a:t>确定运行平台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： 包括硬件配置、编程语言、系统环境等，这些因素都会影响代码的运行效率</a:t>
            </a:r>
            <a:endParaRPr lang="en-US" altLang="zh-CN" b="0" i="0" dirty="0">
              <a:solidFill>
                <a:srgbClr val="1D1D20"/>
              </a:solidFill>
              <a:effectLst/>
              <a:latin typeface="-apple-system"/>
            </a:endParaRPr>
          </a:p>
          <a:p>
            <a:pPr marL="342900" indent="-342900">
              <a:buAutoNum type="arabicPeriod"/>
            </a:pPr>
            <a:r>
              <a:rPr lang="zh-CN" altLang="en-US" b="1" i="0" dirty="0">
                <a:solidFill>
                  <a:srgbClr val="1D1D20"/>
                </a:solidFill>
                <a:effectLst/>
                <a:latin typeface="-apple-system"/>
              </a:rPr>
              <a:t>评估各种计算操作所需的运行时间：</a:t>
            </a:r>
            <a:r>
              <a:rPr lang="zh-CN" altLang="en-US" i="0" dirty="0">
                <a:solidFill>
                  <a:srgbClr val="1D1D20"/>
                </a:solidFill>
                <a:effectLst/>
                <a:latin typeface="-apple-system"/>
              </a:rPr>
              <a:t>例如，加法操作</a:t>
            </a:r>
            <a:r>
              <a:rPr lang="zh-CN" altLang="en-US" b="1" i="0" dirty="0">
                <a:solidFill>
                  <a:srgbClr val="1D1D20"/>
                </a:solidFill>
                <a:effectLst/>
                <a:latin typeface="-apple-system"/>
              </a:rPr>
              <a:t> </a:t>
            </a:r>
            <a:r>
              <a:rPr lang="en-US" altLang="zh-CN" b="1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+ </a:t>
            </a:r>
            <a:r>
              <a:rPr lang="zh-CN" altLang="en-US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需要 </a:t>
            </a:r>
            <a:r>
              <a:rPr lang="en-US" altLang="zh-CN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1 ns </a:t>
            </a:r>
            <a:r>
              <a:rPr lang="zh-CN" altLang="en-US" i="0" dirty="0">
                <a:solidFill>
                  <a:srgbClr val="1D1D20"/>
                </a:solidFill>
                <a:effectLst/>
                <a:latin typeface="-apple-system"/>
              </a:rPr>
              <a:t>，乘法操作 </a:t>
            </a:r>
            <a:r>
              <a:rPr lang="zh-CN" altLang="en-US" b="1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*</a:t>
            </a:r>
            <a:r>
              <a:rPr lang="zh-CN" altLang="en-US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 需要 </a:t>
            </a:r>
            <a:r>
              <a:rPr lang="en-US" altLang="zh-CN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10 ns </a:t>
            </a:r>
            <a:r>
              <a:rPr lang="zh-CN" altLang="en-US" i="0" dirty="0">
                <a:solidFill>
                  <a:srgbClr val="1D1D20"/>
                </a:solidFill>
                <a:effectLst/>
                <a:latin typeface="-apple-system"/>
              </a:rPr>
              <a:t>，打印操作 </a:t>
            </a:r>
            <a:r>
              <a:rPr lang="en-US" altLang="zh-CN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print() </a:t>
            </a:r>
            <a:r>
              <a:rPr lang="zh-CN" altLang="en-US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需要 </a:t>
            </a:r>
            <a:r>
              <a:rPr lang="en-US" altLang="zh-CN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5 ns </a:t>
            </a:r>
            <a:r>
              <a:rPr lang="zh-CN" altLang="en-US" i="0" dirty="0">
                <a:solidFill>
                  <a:srgbClr val="1D1D20"/>
                </a:solidFill>
                <a:effectLst/>
                <a:latin typeface="-apple-system"/>
              </a:rPr>
              <a:t>等。</a:t>
            </a:r>
            <a:endParaRPr lang="en-US" altLang="zh-CN" i="0" dirty="0">
              <a:solidFill>
                <a:srgbClr val="1D1D20"/>
              </a:solidFill>
              <a:effectLst/>
              <a:latin typeface="-apple-system"/>
            </a:endParaRPr>
          </a:p>
          <a:p>
            <a:pPr marL="342900" indent="-342900">
              <a:buFontTx/>
              <a:buAutoNum type="arabicPeriod"/>
            </a:pPr>
            <a:r>
              <a:rPr lang="zh-CN" altLang="en-US" b="1" i="0" dirty="0">
                <a:solidFill>
                  <a:srgbClr val="1D1D20"/>
                </a:solidFill>
                <a:effectLst/>
                <a:latin typeface="-apple-system"/>
              </a:rPr>
              <a:t>统计代码中所有的计算操作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： 将所有操作的执行时间求和，从而得到运行时间。</a:t>
            </a:r>
          </a:p>
          <a:p>
            <a:endParaRPr lang="zh-CN" altLang="en-US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BC97E7EB-BD08-E7E0-9603-12915FF97317}"/>
              </a:ext>
            </a:extLst>
          </p:cNvPr>
          <p:cNvSpPr txBox="1"/>
          <p:nvPr/>
        </p:nvSpPr>
        <p:spPr>
          <a:xfrm>
            <a:off x="789200" y="3113773"/>
            <a:ext cx="5788967" cy="2862322"/>
          </a:xfrm>
          <a:prstGeom prst="rect">
            <a:avLst/>
          </a:prstGeom>
          <a:solidFill>
            <a:srgbClr val="F5F5F5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1.</a:t>
            </a:r>
            <a:r>
              <a:rPr lang="zh-CN" alt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在某运行平台下</a:t>
            </a:r>
            <a:endParaRPr lang="zh-CN" altLang="en-US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800" b="1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lgorithm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 = 2; 			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en-US" altLang="zh-CN" dirty="0">
                <a:solidFill>
                  <a:srgbClr val="3F7F5F"/>
                </a:solidFill>
                <a:effectLst/>
                <a:highlight>
                  <a:srgbClr val="FFFF00"/>
                </a:highlight>
                <a:latin typeface="Consolas" panose="020B0609020204030204" pitchFamily="49" charset="0"/>
              </a:rPr>
              <a:t>1 </a:t>
            </a:r>
            <a:r>
              <a:rPr lang="en-US" altLang="zh-CN" u="sng" dirty="0">
                <a:solidFill>
                  <a:srgbClr val="3F7F5F"/>
                </a:solidFill>
                <a:effectLst/>
                <a:highlight>
                  <a:srgbClr val="FFFF00"/>
                </a:highlight>
                <a:latin typeface="Consolas" panose="020B0609020204030204" pitchFamily="49" charset="0"/>
              </a:rPr>
              <a:t>ns</a:t>
            </a:r>
            <a:endParaRPr lang="en-US" altLang="zh-CN" dirty="0">
              <a:solidFill>
                <a:srgbClr val="000000"/>
              </a:solidFill>
              <a:effectLst/>
              <a:highlight>
                <a:srgbClr val="FFFF00"/>
              </a:highlight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 = a + 1; 			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1 </a:t>
            </a:r>
            <a:r>
              <a:rPr lang="en-US" altLang="zh-CN" u="sng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s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 = a * 2; 			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10 </a:t>
            </a:r>
            <a:r>
              <a:rPr lang="en-US" altLang="zh-CN" u="sng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s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循环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 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次</a:t>
            </a:r>
            <a:endParaRPr lang="zh-CN" altLang="en-US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;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 	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1 </a:t>
            </a:r>
            <a:r>
              <a:rPr lang="en-US" altLang="zh-CN" u="sng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s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t &lt;&lt; 0 &lt;&lt; </a:t>
            </a:r>
            <a:r>
              <a:rPr lang="en-US" altLang="zh-CN" b="1" dirty="0">
                <a:solidFill>
                  <a:srgbClr val="642880"/>
                </a:solidFill>
                <a:effectLst/>
                <a:latin typeface="Consolas" panose="020B0609020204030204" pitchFamily="49" charset="0"/>
              </a:rPr>
              <a:t>endl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		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5 </a:t>
            </a:r>
            <a:r>
              <a:rPr lang="en-US" altLang="zh-CN" u="sng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s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5" name="右大括号 14">
            <a:extLst>
              <a:ext uri="{FF2B5EF4-FFF2-40B4-BE49-F238E27FC236}">
                <a16:creationId xmlns:a16="http://schemas.microsoft.com/office/drawing/2014/main" id="{22057876-0607-BFA0-F575-49BCA5DA07C1}"/>
              </a:ext>
            </a:extLst>
          </p:cNvPr>
          <p:cNvSpPr/>
          <p:nvPr/>
        </p:nvSpPr>
        <p:spPr>
          <a:xfrm>
            <a:off x="6540366" y="3744227"/>
            <a:ext cx="471638" cy="16459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4F746C65-BDFC-385C-265F-D8F3A7016B38}"/>
              </a:ext>
            </a:extLst>
          </p:cNvPr>
          <p:cNvSpPr txBox="1"/>
          <p:nvPr/>
        </p:nvSpPr>
        <p:spPr>
          <a:xfrm>
            <a:off x="7158832" y="3643623"/>
            <a:ext cx="290442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根据以上方法，可以得到算法的运行时间</a:t>
            </a:r>
            <a:r>
              <a:rPr lang="en-US" altLang="zh-CN" b="0" i="0" dirty="0">
                <a:solidFill>
                  <a:srgbClr val="1D1D20"/>
                </a:solidFill>
                <a:effectLst/>
                <a:latin typeface="-apple-system"/>
              </a:rPr>
              <a:t>:</a:t>
            </a:r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94FEB409-B812-C815-94BF-5D1C39DACCDD}"/>
              </a:ext>
            </a:extLst>
          </p:cNvPr>
          <p:cNvSpPr txBox="1"/>
          <p:nvPr/>
        </p:nvSpPr>
        <p:spPr>
          <a:xfrm>
            <a:off x="7158832" y="4336121"/>
            <a:ext cx="234130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i="0" dirty="0">
                <a:solidFill>
                  <a:srgbClr val="1D1D20"/>
                </a:solidFill>
                <a:effectLst/>
                <a:latin typeface="-apple-system"/>
              </a:rPr>
              <a:t>=   </a:t>
            </a:r>
            <a:r>
              <a:rPr lang="en-US" altLang="zh-CN" sz="2000" b="1" i="0" dirty="0">
                <a:solidFill>
                  <a:srgbClr val="1D1D20"/>
                </a:solidFill>
                <a:effectLst/>
                <a:latin typeface="-apple-system"/>
              </a:rPr>
              <a:t>(6n+12) ns </a:t>
            </a:r>
            <a:endParaRPr lang="zh-CN" altLang="en-US" b="1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DC2CB708-A55B-1A45-4D6B-C71410164D95}"/>
              </a:ext>
            </a:extLst>
          </p:cNvPr>
          <p:cNvSpPr txBox="1"/>
          <p:nvPr/>
        </p:nvSpPr>
        <p:spPr>
          <a:xfrm>
            <a:off x="388341" y="6389936"/>
            <a:ext cx="110333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0" i="0" dirty="0">
                <a:solidFill>
                  <a:srgbClr val="1D1D20"/>
                </a:solidFill>
                <a:effectLst/>
                <a:latin typeface="-apple-system"/>
              </a:rPr>
              <a:t>但实际上，</a:t>
            </a:r>
            <a:r>
              <a:rPr lang="zh-CN" altLang="en-US" sz="1400" b="1" i="0" dirty="0">
                <a:solidFill>
                  <a:srgbClr val="1D1D20"/>
                </a:solidFill>
                <a:effectLst/>
                <a:latin typeface="-apple-system"/>
              </a:rPr>
              <a:t>统计算法的运行时间</a:t>
            </a:r>
            <a:r>
              <a:rPr lang="zh-CN" altLang="en-US" sz="1400" b="1" i="0" dirty="0">
                <a:solidFill>
                  <a:srgbClr val="1D1D20"/>
                </a:solidFill>
                <a:effectLst/>
                <a:highlight>
                  <a:srgbClr val="FFFF00"/>
                </a:highlight>
                <a:latin typeface="-apple-system"/>
              </a:rPr>
              <a:t>既不合理也不现实</a:t>
            </a:r>
            <a:r>
              <a:rPr lang="zh-CN" altLang="en-US" sz="1400" b="0" i="0" dirty="0">
                <a:solidFill>
                  <a:srgbClr val="1D1D20"/>
                </a:solidFill>
                <a:effectLst/>
                <a:latin typeface="-apple-system"/>
              </a:rPr>
              <a:t>。首先，我们不希望将预估时间和运行平台绑定，因为算法需要在各种不同的平台上运行。其次，我们很难获知每种操作的运行时间，这给预估过程带来了极大的难度。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552991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4 </a:t>
            </a:r>
            <a:r>
              <a:rPr lang="zh-CN" altLang="en-US" dirty="0"/>
              <a:t>常见类型 </a:t>
            </a:r>
            <a:r>
              <a:rPr lang="en-US" altLang="zh-CN" dirty="0"/>
              <a:t>–</a:t>
            </a:r>
            <a:r>
              <a:rPr lang="zh-CN" altLang="en-US" dirty="0"/>
              <a:t>对数阶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-1" y="1015215"/>
                <a:ext cx="11179535" cy="86857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对数阶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𝟎</m:t>
                    </m:r>
                    <m:d>
                      <m:dPr>
                        <m:ctrlPr>
                          <a:rPr lang="zh-CN" altLang="en-US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𝒍𝒐𝒈</m:t>
                            </m:r>
                          </m:fName>
                          <m:e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</m:e>
                        </m:func>
                      </m:e>
                    </m:d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： 与指数阶相反，对数阶反映了“每轮缩减到一半”的情况。设输入数据大小为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，由于每轮缩减到一半，因此循环次数是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𝟎</m:t>
                    </m:r>
                    <m:d>
                      <m:dPr>
                        <m:ctrlPr>
                          <a:rPr lang="zh-CN" altLang="en-US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zh-CN" altLang="en-US" b="1" i="1" dirty="0" smtClean="0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b="1" i="0" dirty="0" smtClean="0">
                                    <a:latin typeface="Cambria Math" panose="02040503050406030204" pitchFamily="18" charset="0"/>
                                  </a:rPr>
                                  <m:t>𝐥𝐨𝐠</m:t>
                                </m:r>
                              </m:e>
                              <m:sub>
                                <m:r>
                                  <a:rPr lang="zh-CN" altLang="en-US" b="1" i="0" dirty="0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sub>
                            </m:sSub>
                          </m:fName>
                          <m:e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</m:e>
                        </m:func>
                      </m:e>
                    </m:d>
                  </m:oMath>
                </a14:m>
                <a:endParaRPr lang="zh-CN" altLang="en-US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" y="1015215"/>
                <a:ext cx="11179535" cy="868571"/>
              </a:xfrm>
              <a:prstGeom prst="rect">
                <a:avLst/>
              </a:prstGeom>
              <a:blipFill>
                <a:blip r:embed="rId2"/>
                <a:stretch>
                  <a:fillRect l="-327" b="-915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48D351B8-0531-2799-1A9F-BE4253C76327}"/>
                  </a:ext>
                </a:extLst>
              </p:cNvPr>
              <p:cNvSpPr txBox="1"/>
              <p:nvPr/>
            </p:nvSpPr>
            <p:spPr>
              <a:xfrm>
                <a:off x="361829" y="2014120"/>
                <a:ext cx="1093697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图 </a:t>
                </a:r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2-12 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和以下代码模拟了“每轮缩减到一半”的过程，时间复杂度为 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𝟎</m:t>
                    </m:r>
                    <m:d>
                      <m:dPr>
                        <m:ctrlPr>
                          <a:rPr lang="zh-CN" altLang="en-US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zh-CN" altLang="en-US" b="1" i="1" dirty="0" smtClean="0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b="1" i="0" dirty="0" smtClean="0">
                                    <a:latin typeface="Cambria Math" panose="02040503050406030204" pitchFamily="18" charset="0"/>
                                  </a:rPr>
                                  <m:t>𝐥𝐨𝐠</m:t>
                                </m:r>
                              </m:e>
                              <m:sub>
                                <m:r>
                                  <a:rPr lang="zh-CN" altLang="en-US" b="1" i="0" dirty="0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sub>
                            </m:sSub>
                          </m:fName>
                          <m:e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</m:e>
                        </m:func>
                      </m:e>
                    </m:d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简记为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𝟎</m:t>
                    </m:r>
                    <m:d>
                      <m:dPr>
                        <m:ctrlPr>
                          <a:rPr lang="zh-CN" altLang="en-US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𝒍𝒐𝒈</m:t>
                            </m:r>
                          </m:fName>
                          <m:e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</m:e>
                        </m:func>
                      </m:e>
                    </m:d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：</a:t>
                </a:r>
                <a:endParaRPr lang="zh-CN" altLang="en-US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48D351B8-0531-2799-1A9F-BE4253C763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1829" y="2014120"/>
                <a:ext cx="10936974" cy="369332"/>
              </a:xfrm>
              <a:prstGeom prst="rect">
                <a:avLst/>
              </a:prstGeom>
              <a:blipFill>
                <a:blip r:embed="rId3"/>
                <a:stretch>
                  <a:fillRect l="-446" t="-13115" b="-1967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8">
            <a:extLst>
              <a:ext uri="{FF2B5EF4-FFF2-40B4-BE49-F238E27FC236}">
                <a16:creationId xmlns:a16="http://schemas.microsoft.com/office/drawing/2014/main" id="{13A2B80A-B3D0-8300-87CF-C14944A5A9DF}"/>
              </a:ext>
            </a:extLst>
          </p:cNvPr>
          <p:cNvSpPr txBox="1"/>
          <p:nvPr/>
        </p:nvSpPr>
        <p:spPr>
          <a:xfrm>
            <a:off x="361829" y="2513786"/>
            <a:ext cx="303938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对数阶（循环实现） 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arithmic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 = 0;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n &gt; 1) {</a:t>
            </a:r>
          </a:p>
          <a:p>
            <a:pPr lvl="2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 = n / 2;</a:t>
            </a:r>
          </a:p>
          <a:p>
            <a:pPr lvl="2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nt++;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101832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4 </a:t>
            </a:r>
            <a:r>
              <a:rPr lang="zh-CN" altLang="en-US" dirty="0"/>
              <a:t>常见类型 </a:t>
            </a:r>
            <a:r>
              <a:rPr lang="en-US" altLang="zh-CN" dirty="0"/>
              <a:t>–</a:t>
            </a:r>
            <a:r>
              <a:rPr lang="zh-CN" altLang="en-US" dirty="0"/>
              <a:t>对数阶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48D351B8-0531-2799-1A9F-BE4253C76327}"/>
                  </a:ext>
                </a:extLst>
              </p:cNvPr>
              <p:cNvSpPr txBox="1"/>
              <p:nvPr/>
            </p:nvSpPr>
            <p:spPr>
              <a:xfrm>
                <a:off x="298218" y="1306454"/>
                <a:ext cx="566526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solidFill>
                      <a:srgbClr val="1D1D2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与指数阶类似，对数阶也常出现于递归函数中。以下代码形成了一棵高度为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zh-CN" altLang="en-US" b="1" i="1" dirty="0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sSub>
                          <m:sSubPr>
                            <m:ctrlPr>
                              <a:rPr lang="zh-CN" altLang="en-US" b="1" i="1" dirty="0" smtClean="0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b="1" i="0" dirty="0" smtClean="0">
                                <a:latin typeface="Cambria Math" panose="02040503050406030204" pitchFamily="18" charset="0"/>
                              </a:rPr>
                              <m:t>𝐥𝐨𝐠</m:t>
                            </m:r>
                          </m:e>
                          <m:sub>
                            <m:r>
                              <a:rPr lang="zh-CN" altLang="en-US" b="1" i="0" dirty="0" smtClean="0">
                                <a:latin typeface="Cambria Math" panose="02040503050406030204" pitchFamily="18" charset="0"/>
                              </a:rPr>
                              <m:t>𝟐</m:t>
                            </m:r>
                          </m:sub>
                        </m:sSub>
                      </m:fName>
                      <m:e>
                        <m:r>
                          <a:rPr lang="zh-CN" altLang="en-US" b="1" i="1" dirty="0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func>
                  </m:oMath>
                </a14:m>
                <a:r>
                  <a:rPr lang="zh-CN" altLang="en-US" dirty="0">
                    <a:solidFill>
                      <a:srgbClr val="1D1D2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 的递归树</a:t>
                </a:r>
                <a:endParaRPr lang="zh-CN" altLang="en-US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48D351B8-0531-2799-1A9F-BE4253C763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8218" y="1306454"/>
                <a:ext cx="5665260" cy="646331"/>
              </a:xfrm>
              <a:prstGeom prst="rect">
                <a:avLst/>
              </a:prstGeom>
              <a:blipFill>
                <a:blip r:embed="rId2"/>
                <a:stretch>
                  <a:fillRect l="-753" t="-4717" b="-122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文本框 10">
            <a:extLst>
              <a:ext uri="{FF2B5EF4-FFF2-40B4-BE49-F238E27FC236}">
                <a16:creationId xmlns:a16="http://schemas.microsoft.com/office/drawing/2014/main" id="{046FC450-6AFE-48F6-A580-E628A7C74BF5}"/>
              </a:ext>
            </a:extLst>
          </p:cNvPr>
          <p:cNvSpPr txBox="1"/>
          <p:nvPr/>
        </p:nvSpPr>
        <p:spPr>
          <a:xfrm>
            <a:off x="783247" y="2311921"/>
            <a:ext cx="4281733" cy="2268763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6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对数阶（递归实现） *</a:t>
            </a:r>
            <a:r>
              <a:rPr lang="en-US" altLang="zh-CN" sz="16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6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b="1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Recur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>
              <a:lnSpc>
                <a:spcPct val="150000"/>
              </a:lnSpc>
            </a:pP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n &lt;= 1)</a:t>
            </a:r>
          </a:p>
          <a:p>
            <a:pPr lvl="1">
              <a:lnSpc>
                <a:spcPct val="150000"/>
              </a:lnSpc>
            </a:pP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	return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0;</a:t>
            </a:r>
          </a:p>
          <a:p>
            <a:pPr lvl="1">
              <a:lnSpc>
                <a:spcPct val="150000"/>
              </a:lnSpc>
            </a:pPr>
            <a:r>
              <a:rPr lang="en-US" altLang="zh-CN" sz="16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Recur</a:t>
            </a: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 / 2) + 1;</a:t>
            </a: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BD3F3EA4-391F-7286-4733-3D4E034AEC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9303" y="1869302"/>
            <a:ext cx="6199450" cy="466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1316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4 </a:t>
            </a:r>
            <a:r>
              <a:rPr lang="zh-CN" altLang="en-US" dirty="0"/>
              <a:t>常见类型 </a:t>
            </a:r>
            <a:r>
              <a:rPr lang="en-US" altLang="zh-CN" dirty="0"/>
              <a:t>–</a:t>
            </a:r>
            <a:r>
              <a:rPr lang="zh-CN" altLang="en-US" dirty="0"/>
              <a:t>对数阶 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E18E9CF-84F8-D34F-3210-4A9E77B66C47}"/>
              </a:ext>
            </a:extLst>
          </p:cNvPr>
          <p:cNvSpPr txBox="1"/>
          <p:nvPr/>
        </p:nvSpPr>
        <p:spPr>
          <a:xfrm>
            <a:off x="324081" y="1235184"/>
            <a:ext cx="109369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对数阶常出现于基于</a:t>
            </a:r>
            <a:r>
              <a:rPr lang="zh-CN" altLang="en-US" b="1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分治策略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的算法中，体现了“一分为多”和“化繁为简”的算法思想。它增长缓慢，是</a:t>
            </a:r>
            <a:r>
              <a:rPr lang="zh-CN" altLang="en-US" b="1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仅次于常数阶的理想的时间复杂度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。</a:t>
            </a:r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C2AAC2AB-DEF7-083F-5B75-655AA4501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95" y="2101484"/>
            <a:ext cx="9451285" cy="3096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5407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5 </a:t>
            </a:r>
            <a:r>
              <a:rPr lang="zh-CN" altLang="en-US" dirty="0"/>
              <a:t>常见类型 </a:t>
            </a:r>
            <a:r>
              <a:rPr lang="en-US" altLang="zh-CN" dirty="0"/>
              <a:t>–</a:t>
            </a:r>
            <a:r>
              <a:rPr lang="zh-CN" altLang="en-US" dirty="0"/>
              <a:t>线性对数阶？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-1" y="1015215"/>
                <a:ext cx="11179535" cy="8764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对数阶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𝟎</m:t>
                    </m:r>
                    <m:d>
                      <m:dPr>
                        <m:ctrlPr>
                          <a:rPr lang="zh-CN" altLang="en-US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  <m: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𝒍𝒐𝒈</m:t>
                            </m:r>
                          </m:fName>
                          <m:e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</m:e>
                        </m:func>
                      </m:e>
                    </m:d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：线性对数阶常出现于嵌套循环中，两层循环的时间复杂度分别为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𝒏</m:t>
                    </m:r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zh-CN" altLang="en-US" b="1" i="1" dirty="0">
                        <a:latin typeface="Cambria Math" panose="02040503050406030204" pitchFamily="18" charset="0"/>
                      </a:rPr>
                      <m:t>、</m:t>
                    </m:r>
                  </m:oMath>
                </a14:m>
                <a:r>
                  <a:rPr lang="zh-CN" altLang="en-US" b="1" dirty="0"/>
                  <a:t>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zh-CN" altLang="en-US" b="1" i="1" dirty="0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zh-CN" altLang="en-US" b="1" i="1" dirty="0" smtClean="0">
                            <a:latin typeface="Cambria Math" panose="02040503050406030204" pitchFamily="18" charset="0"/>
                          </a:rPr>
                          <m:t>𝒍𝒐𝒈</m:t>
                        </m:r>
                      </m:fName>
                      <m:e>
                        <m:r>
                          <a:rPr lang="zh-CN" altLang="en-US" b="1" i="1" dirty="0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func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zh-CN" altLang="en-US" b="1" i="1" dirty="0">
                        <a:latin typeface="Cambria Math" panose="02040503050406030204" pitchFamily="18" charset="0"/>
                      </a:rPr>
                      <m:t>。</m:t>
                    </m:r>
                  </m:oMath>
                </a14:m>
                <a:r>
                  <a:rPr lang="zh-CN" altLang="en-US" dirty="0"/>
                  <a:t>相关代码如下： </a:t>
                </a:r>
                <a:r>
                  <a:rPr lang="en-US" altLang="zh-CN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: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" y="1015215"/>
                <a:ext cx="11179535" cy="876458"/>
              </a:xfrm>
              <a:prstGeom prst="rect">
                <a:avLst/>
              </a:prstGeom>
              <a:blipFill>
                <a:blip r:embed="rId2"/>
                <a:stretch>
                  <a:fillRect l="-327" b="-111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文本框 3">
            <a:extLst>
              <a:ext uri="{FF2B5EF4-FFF2-40B4-BE49-F238E27FC236}">
                <a16:creationId xmlns:a16="http://schemas.microsoft.com/office/drawing/2014/main" id="{E4F1DE27-528D-909A-58F6-FD2B6FF303EF}"/>
              </a:ext>
            </a:extLst>
          </p:cNvPr>
          <p:cNvSpPr txBox="1"/>
          <p:nvPr/>
        </p:nvSpPr>
        <p:spPr>
          <a:xfrm>
            <a:off x="5589766" y="2217663"/>
            <a:ext cx="6887817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线性对数阶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????  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nearLogRecu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n &lt;= 1)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	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1;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 =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nearLogRecu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 / 2) +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nearLogRecu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 / 2);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	count++;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CD69A94-8993-D73D-0410-0C1B43451E1C}"/>
              </a:ext>
            </a:extLst>
          </p:cNvPr>
          <p:cNvSpPr txBox="1"/>
          <p:nvPr/>
        </p:nvSpPr>
        <p:spPr>
          <a:xfrm>
            <a:off x="361829" y="2288672"/>
            <a:ext cx="379670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对数阶（循环实现） 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ogarithmic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 = 0;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</a:t>
            </a:r>
          </a:p>
          <a:p>
            <a:pPr lvl="1"/>
            <a:endParaRPr lang="en-US" altLang="zh-CN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2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n &gt; 1) {</a:t>
            </a:r>
          </a:p>
          <a:p>
            <a:pPr lvl="3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 = n / 2;</a:t>
            </a:r>
          </a:p>
          <a:p>
            <a:pPr lvl="3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nt++;</a:t>
            </a:r>
          </a:p>
          <a:p>
            <a:pPr lvl="2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altLang="zh-CN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7998977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5 </a:t>
            </a:r>
            <a:r>
              <a:rPr lang="zh-CN" altLang="en-US" dirty="0"/>
              <a:t>常见类型 </a:t>
            </a:r>
            <a:r>
              <a:rPr lang="en-US" altLang="zh-CN" dirty="0"/>
              <a:t>–</a:t>
            </a:r>
            <a:r>
              <a:rPr lang="zh-CN" altLang="en-US" dirty="0"/>
              <a:t>线性对数阶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-1" y="1015215"/>
                <a:ext cx="11179535" cy="129195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下图展示了线性对数阶的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生成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方式。二叉树的每一层的操作总数都为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latin typeface="Cambria Math" panose="02040503050406030204" pitchFamily="18" charset="0"/>
                      </a:rPr>
                      <m:t>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，树共有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zh-CN" altLang="en-US" b="1" i="1" dirty="0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sSub>
                          <m:sSubPr>
                            <m:ctrlPr>
                              <a:rPr lang="zh-CN" altLang="en-US" b="1" i="1" dirty="0" smtClean="0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b="1" i="0" dirty="0" smtClean="0">
                                <a:latin typeface="Cambria Math" panose="02040503050406030204" pitchFamily="18" charset="0"/>
                              </a:rPr>
                              <m:t>𝐥𝐨𝐠</m:t>
                            </m:r>
                          </m:e>
                          <m:sub>
                            <m:r>
                              <a:rPr lang="zh-CN" altLang="en-US" b="1" i="0" dirty="0" smtClean="0">
                                <a:latin typeface="Cambria Math" panose="02040503050406030204" pitchFamily="18" charset="0"/>
                              </a:rPr>
                              <m:t>𝟐</m:t>
                            </m:r>
                          </m:sub>
                        </m:sSub>
                      </m:fName>
                      <m:e>
                        <m:r>
                          <a:rPr lang="zh-CN" altLang="en-US" b="1" i="1" dirty="0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func>
                    <m:r>
                      <a:rPr lang="en-US" altLang="zh-CN" b="0" i="0" dirty="0" smtClean="0">
                        <a:latin typeface="Cambria Math" panose="02040503050406030204" pitchFamily="18" charset="0"/>
                      </a:rPr>
                      <m:t>+1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层，因此时间复杂度为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𝟎</m:t>
                    </m:r>
                    <m:d>
                      <m:dPr>
                        <m:ctrlPr>
                          <a:rPr lang="zh-CN" altLang="en-US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  <m: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𝒍𝒐𝒈</m:t>
                            </m:r>
                          </m:fName>
                          <m:e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</m:e>
                        </m:func>
                      </m:e>
                    </m:d>
                  </m:oMath>
                </a14:m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.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-apple-system"/>
                  </a:rPr>
                  <a:t>主流排序算法的时间复杂度通常为 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𝟎</m:t>
                    </m:r>
                    <m:d>
                      <m:dPr>
                        <m:ctrlPr>
                          <a:rPr lang="zh-CN" altLang="en-US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  <m:r>
                              <a:rPr lang="en-US" altLang="zh-CN" b="1" i="1" dirty="0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𝒍𝒐𝒈</m:t>
                            </m:r>
                          </m:fName>
                          <m:e>
                            <m:r>
                              <a:rPr lang="zh-CN" altLang="en-US" b="1" i="1" dirty="0" smtClean="0">
                                <a:latin typeface="Cambria Math" panose="02040503050406030204" pitchFamily="18" charset="0"/>
                              </a:rPr>
                              <m:t>𝒏</m:t>
                            </m:r>
                          </m:e>
                        </m:func>
                      </m:e>
                    </m:d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-apple-system"/>
                  </a:rPr>
                  <a:t>，例如快速排序、归并排序、堆排序等。</a:t>
                </a:r>
                <a:endParaRPr lang="zh-CN" altLang="en-US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" y="1015215"/>
                <a:ext cx="11179535" cy="1291957"/>
              </a:xfrm>
              <a:prstGeom prst="rect">
                <a:avLst/>
              </a:prstGeom>
              <a:blipFill>
                <a:blip r:embed="rId2"/>
                <a:stretch>
                  <a:fillRect l="-327" b="-758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266" name="Picture 2">
            <a:extLst>
              <a:ext uri="{FF2B5EF4-FFF2-40B4-BE49-F238E27FC236}">
                <a16:creationId xmlns:a16="http://schemas.microsoft.com/office/drawing/2014/main" id="{18245074-0D09-6978-7872-CF353C2405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1453" y="2307172"/>
            <a:ext cx="7013050" cy="3944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48657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6 </a:t>
            </a:r>
            <a:r>
              <a:rPr lang="zh-CN" altLang="en-US" dirty="0"/>
              <a:t>常见类型 </a:t>
            </a:r>
            <a:r>
              <a:rPr lang="en-US" altLang="zh-CN" dirty="0"/>
              <a:t>–</a:t>
            </a:r>
            <a:r>
              <a:rPr lang="zh-CN" altLang="en-US" dirty="0"/>
              <a:t>阶乘阶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-1" y="1015215"/>
                <a:ext cx="11179535" cy="8583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阶乘阶</a:t>
                </a:r>
                <a14:m>
                  <m:oMath xmlns:m="http://schemas.openxmlformats.org/officeDocument/2006/math"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𝟎</m:t>
                    </m:r>
                    <m:d>
                      <m:dPr>
                        <m:ctrlPr>
                          <a:rPr lang="zh-CN" altLang="en-US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  <m:t>𝒏</m:t>
                        </m:r>
                        <m:r>
                          <a:rPr lang="en-US" altLang="zh-CN" b="1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  <m:t>!</m:t>
                        </m:r>
                      </m:e>
                    </m:d>
                    <m:r>
                      <a:rPr lang="zh-CN" altLang="en-US" b="1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: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对应数学上的“全排列”问题。给定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个互不重复的元素，求其所有可能的排列方案，方案数量为：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.</a:t>
                </a: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" y="1015215"/>
                <a:ext cx="11179535" cy="858377"/>
              </a:xfrm>
              <a:prstGeom prst="rect">
                <a:avLst/>
              </a:prstGeom>
              <a:blipFill>
                <a:blip r:embed="rId2"/>
                <a:stretch>
                  <a:fillRect l="-327" b="-1071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>
            <a:extLst>
              <a:ext uri="{FF2B5EF4-FFF2-40B4-BE49-F238E27FC236}">
                <a16:creationId xmlns:a16="http://schemas.microsoft.com/office/drawing/2014/main" id="{BAA362F9-85B5-BB91-2DE7-6AA2438488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921" y="1657425"/>
            <a:ext cx="8653132" cy="1418269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8557964-7B11-10F4-D817-5AB5A097E441}"/>
              </a:ext>
            </a:extLst>
          </p:cNvPr>
          <p:cNvSpPr txBox="1"/>
          <p:nvPr/>
        </p:nvSpPr>
        <p:spPr>
          <a:xfrm>
            <a:off x="530750" y="3264831"/>
            <a:ext cx="611852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阶乘阶（递归实现） 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factorialRecu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n == 0)</a:t>
            </a:r>
          </a:p>
          <a:p>
            <a:pPr lvl="2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1;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 = 0;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;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	count +=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factorialRecur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n - 1);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lvl="1"/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ount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957855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00B552-08B9-5D4B-673E-E9ABCDA85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6.6 </a:t>
            </a:r>
            <a:r>
              <a:rPr lang="zh-CN" altLang="en-US" dirty="0"/>
              <a:t>常见类型 </a:t>
            </a:r>
            <a:r>
              <a:rPr lang="en-US" altLang="zh-CN" dirty="0"/>
              <a:t>–</a:t>
            </a:r>
            <a:r>
              <a:rPr lang="zh-CN" altLang="en-US" dirty="0"/>
              <a:t>阶乘阶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/>
              <p:nvPr/>
            </p:nvSpPr>
            <p:spPr>
              <a:xfrm>
                <a:off x="-1" y="1015215"/>
                <a:ext cx="11179535" cy="45307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dirty="0">
                    <a:solidFill>
                      <a:srgbClr val="FF000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请注意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，因为当 </a:t>
                </a:r>
                <a14:m>
                  <m:oMath xmlns:m="http://schemas.openxmlformats.org/officeDocument/2006/math"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zh-CN" altLang="en-US" i="0" smtClean="0">
                        <a:latin typeface="Cambria Math" panose="02040503050406030204" pitchFamily="18" charset="0"/>
                      </a:rPr>
                      <m:t>≥4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 时恒有 </a:t>
                </a:r>
                <a14:m>
                  <m:oMath xmlns:m="http://schemas.openxmlformats.org/officeDocument/2006/math"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zh-CN" altLang="en-US" i="0" smtClean="0">
                        <a:latin typeface="Cambria Math" panose="02040503050406030204" pitchFamily="18" charset="0"/>
                      </a:rPr>
                      <m:t>!&gt;</m:t>
                    </m:r>
                    <m:sSup>
                      <m:sSupPr>
                        <m:ctrlPr>
                          <a:rPr lang="zh-CN" altLang="en-US" i="1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0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zh-CN" altLang="en-US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，所以阶乘阶比指数阶增长得更快，在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较大时也是不可接受的。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B7E120B-B75C-A7FC-3223-72E6BBFFF0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" y="1015215"/>
                <a:ext cx="11179535" cy="453073"/>
              </a:xfrm>
              <a:prstGeom prst="rect">
                <a:avLst/>
              </a:prstGeom>
              <a:blipFill>
                <a:blip r:embed="rId2"/>
                <a:stretch>
                  <a:fillRect l="-327" r="-2454" b="-1891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290" name="Picture 2">
            <a:extLst>
              <a:ext uri="{FF2B5EF4-FFF2-40B4-BE49-F238E27FC236}">
                <a16:creationId xmlns:a16="http://schemas.microsoft.com/office/drawing/2014/main" id="{AD902F7B-8295-7533-06EF-8E4C9A521E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1051" y="1395714"/>
            <a:ext cx="7905904" cy="4447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96090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8872EF-1B83-9A88-A7F3-388291F78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2.</a:t>
            </a:r>
            <a:r>
              <a:rPr lang="zh-CN" altLang="en-US" dirty="0"/>
              <a:t>最差、最佳、平均时间复杂度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9C77432-925B-3146-51CD-6D4627E503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164" y="1134262"/>
            <a:ext cx="9972675" cy="366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735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8872EF-1B83-9A88-A7F3-388291F78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2.</a:t>
            </a:r>
            <a:r>
              <a:rPr lang="zh-CN" altLang="en-US" dirty="0"/>
              <a:t>最差、最佳、平均时间复杂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E8E45CF6-5235-CCAD-E880-4FA176D157C8}"/>
                  </a:ext>
                </a:extLst>
              </p:cNvPr>
              <p:cNvSpPr txBox="1"/>
              <p:nvPr/>
            </p:nvSpPr>
            <p:spPr>
              <a:xfrm>
                <a:off x="230588" y="1219951"/>
                <a:ext cx="11730824" cy="494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>
                  <a:lnSpc>
                    <a:spcPct val="150000"/>
                  </a:lnSpc>
                </a:pP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值得说明的是，</a:t>
                </a:r>
                <a:endParaRPr lang="en-US" altLang="zh-CN" b="0" i="0" dirty="0">
                  <a:solidFill>
                    <a:srgbClr val="1D1D20"/>
                  </a:solidFill>
                  <a:effectLst/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 marL="285750" indent="-285750" algn="l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在实际中很少使用</a:t>
                </a:r>
                <a:r>
                  <a:rPr lang="zh-CN" altLang="en-US" b="1" i="0" dirty="0">
                    <a:solidFill>
                      <a:srgbClr val="FF000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最佳时间复杂度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因为通常只有在很小概率下才能达到，可能会带来一定的误导性。</a:t>
                </a:r>
                <a:endParaRPr lang="en-US" altLang="zh-CN" b="0" i="0" dirty="0">
                  <a:solidFill>
                    <a:srgbClr val="1D1D20"/>
                  </a:solidFill>
                  <a:effectLst/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 marL="285750" indent="-285750" algn="l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而</a:t>
                </a:r>
                <a:r>
                  <a:rPr lang="zh-CN" altLang="en-US" b="1" i="0" dirty="0">
                    <a:solidFill>
                      <a:srgbClr val="FF000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最差时间复杂度</a:t>
                </a: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更为实用，因为它给出了一个效率安全值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让我们可以放心地使用算法。</a:t>
                </a:r>
              </a:p>
              <a:p>
                <a:pPr marL="285750" indent="-285750" algn="l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最差时间复杂度和最佳时间复杂度只出现于“</a:t>
                </a:r>
                <a:r>
                  <a:rPr lang="zh-CN" altLang="en-US" b="1" i="0" dirty="0">
                    <a:solidFill>
                      <a:srgbClr val="FF000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特殊的数据分布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”，这些情况的出现概率可能很小，并不能真实地反映算法运行效率。</a:t>
                </a:r>
                <a:endParaRPr lang="en-US" altLang="zh-CN" b="0" i="0" dirty="0">
                  <a:solidFill>
                    <a:srgbClr val="1D1D20"/>
                  </a:solidFill>
                  <a:effectLst/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 marL="285750" indent="-285750" algn="l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相比之下，</a:t>
                </a:r>
                <a:r>
                  <a:rPr lang="zh-CN" altLang="en-US" b="1" i="0" dirty="0">
                    <a:solidFill>
                      <a:srgbClr val="FF000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平均时间复杂度</a:t>
                </a: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可以体现算法在随机输入数据下的运行效率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用 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b="0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Θ</m:t>
                    </m:r>
                  </m:oMath>
                </a14:m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记号来表示。</a:t>
                </a:r>
                <a:endParaRPr lang="en-US" altLang="zh-CN" b="0" i="0" dirty="0">
                  <a:solidFill>
                    <a:srgbClr val="1D1D20"/>
                  </a:solidFill>
                  <a:effectLst/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 marL="285750" indent="-285750" algn="l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对于部分算法，我们可以</a:t>
                </a: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简单地推算出随机数据分布下的平均情况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。比如上述示例，由于输入数组是被打乱的，因此元素</a:t>
                </a:r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1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 出现在任意索引的概率都是相等的，那么算法的平均循环次数就是数组长度的一半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en-US" b="0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zh-CN" altLang="en-US" b="0" i="0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𝑛</m:t>
                        </m:r>
                      </m:num>
                      <m:den>
                        <m:r>
                          <a:rPr lang="zh-CN" altLang="en-US" b="0" i="0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平均时间复杂度为  </a:t>
                </a:r>
                <a14:m>
                  <m:oMath xmlns:m="http://schemas.openxmlformats.org/officeDocument/2006/math">
                    <m:r>
                      <a:rPr lang="zh-CN" altLang="en-US" b="0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</a:rPr>
                      <m:t>𝜃</m:t>
                    </m:r>
                    <m:d>
                      <m:dPr>
                        <m:ctrlPr>
                          <a:rPr lang="zh-CN" altLang="en-US" b="0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zh-CN" altLang="en-US" b="0" i="1" dirty="0" smtClean="0">
                                <a:solidFill>
                                  <a:srgbClr val="1D1D2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b="0" i="0" dirty="0" smtClean="0">
                                <a:solidFill>
                                  <a:srgbClr val="1D1D2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𝑛</m:t>
                            </m:r>
                          </m:num>
                          <m:den>
                            <m:r>
                              <a:rPr lang="zh-CN" altLang="en-US" b="0" i="0" dirty="0" smtClean="0">
                                <a:solidFill>
                                  <a:srgbClr val="1D1D2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</m:e>
                    </m:d>
                    <m:r>
                      <a:rPr lang="zh-CN" altLang="en-US" b="0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</a:rPr>
                      <m:t>=</m:t>
                    </m:r>
                    <m:r>
                      <a:rPr lang="zh-CN" altLang="en-US" b="0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</a:rPr>
                      <m:t>𝜃</m:t>
                    </m:r>
                    <m:d>
                      <m:dPr>
                        <m:ctrlPr>
                          <a:rPr lang="zh-CN" altLang="en-US" b="0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b="0" i="0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d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</a:p>
              <a:p>
                <a:pPr algn="l">
                  <a:lnSpc>
                    <a:spcPct val="150000"/>
                  </a:lnSpc>
                </a:pP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但对于较为复杂的算法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</a:t>
                </a:r>
                <a:r>
                  <a:rPr lang="zh-CN" altLang="en-US" b="0" i="0" dirty="0">
                    <a:solidFill>
                      <a:srgbClr val="FF000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计算平均时间复杂度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往往比较困难，因为很难分析出在数据分布下的整体数学期望。在这种情况下，我们通常使用</a:t>
                </a:r>
                <a:r>
                  <a:rPr lang="zh-CN" altLang="en-US" b="1" i="0" dirty="0">
                    <a:solidFill>
                      <a:srgbClr val="FF000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最差时间复杂度作为算法效率的评判标准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E8E45CF6-5235-CCAD-E880-4FA176D157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588" y="1219951"/>
                <a:ext cx="11730824" cy="4942443"/>
              </a:xfrm>
              <a:prstGeom prst="rect">
                <a:avLst/>
              </a:prstGeom>
              <a:blipFill>
                <a:blip r:embed="rId2"/>
                <a:stretch>
                  <a:fillRect l="-468" r="-208" b="-98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651771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FC32CC-82EF-1213-A5DD-689D7377D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3BE2716-1272-5457-A66B-058A5843B7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466" y="2785658"/>
            <a:ext cx="8156796" cy="1286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3490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201856-A835-7B0C-C7D2-254ED3B7F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1 </a:t>
            </a:r>
            <a:r>
              <a:rPr lang="zh-CN" altLang="en-US" dirty="0"/>
              <a:t>统计时间增长趋势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77F882E-BCC1-EB55-5BC4-DE7DC47AE22D}"/>
              </a:ext>
            </a:extLst>
          </p:cNvPr>
          <p:cNvSpPr txBox="1"/>
          <p:nvPr/>
        </p:nvSpPr>
        <p:spPr>
          <a:xfrm>
            <a:off x="223022" y="1141422"/>
            <a:ext cx="11745955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时间复杂度分析</a:t>
            </a:r>
            <a:r>
              <a:rPr lang="zh-CN" altLang="en-US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统计的不是算法运行时间，而是</a:t>
            </a:r>
            <a:r>
              <a:rPr lang="zh-CN" altLang="en-US" sz="1600" b="1" u="sng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算法运行时间</a:t>
            </a:r>
            <a:r>
              <a:rPr lang="zh-CN" altLang="en-US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随着</a:t>
            </a:r>
            <a:r>
              <a:rPr lang="zh-CN" altLang="en-US" sz="1600" b="1" u="sng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数据量变大</a:t>
            </a:r>
            <a:r>
              <a:rPr lang="zh-CN" altLang="en-US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时的</a:t>
            </a:r>
            <a:r>
              <a:rPr lang="zh-CN" altLang="en-US" sz="1600" b="1" u="sng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增长趋势</a:t>
            </a:r>
            <a:r>
              <a:rPr lang="zh-CN" altLang="en-US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。</a:t>
            </a:r>
          </a:p>
          <a:p>
            <a:r>
              <a:rPr lang="zh-CN" altLang="en-US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“时间增长趋势”这个概念比较抽象，我们通过一个例子来加以理解。假设输入数据大小为</a:t>
            </a:r>
          </a:p>
          <a:p>
            <a:r>
              <a:rPr lang="zh-CN" altLang="en-US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，给定三个算法 </a:t>
            </a:r>
            <a:r>
              <a:rPr lang="en-US" altLang="zh-CN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A</a:t>
            </a:r>
            <a:r>
              <a:rPr lang="zh-CN" altLang="en-US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、</a:t>
            </a:r>
            <a:r>
              <a:rPr lang="en-US" altLang="zh-CN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B </a:t>
            </a:r>
            <a:r>
              <a:rPr lang="zh-CN" altLang="en-US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和 </a:t>
            </a:r>
            <a:r>
              <a:rPr lang="en-US" altLang="zh-CN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 </a:t>
            </a:r>
            <a:r>
              <a:rPr lang="zh-CN" altLang="en-US" sz="1600" dirty="0">
                <a:latin typeface="Microsoft JhengHei" panose="020B0604030504040204" pitchFamily="34" charset="-120"/>
                <a:ea typeface="Microsoft JhengHei" panose="020B0604030504040204" pitchFamily="34" charset="-120"/>
              </a:rPr>
              <a:t>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2902077E-EEED-03FD-3399-CB1359D8A85A}"/>
                  </a:ext>
                </a:extLst>
              </p:cNvPr>
              <p:cNvSpPr txBox="1"/>
              <p:nvPr/>
            </p:nvSpPr>
            <p:spPr>
              <a:xfrm>
                <a:off x="8493125" y="1396304"/>
                <a:ext cx="19954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𝑛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2902077E-EEED-03FD-3399-CB1359D8A8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93125" y="1396304"/>
                <a:ext cx="199542" cy="276999"/>
              </a:xfrm>
              <a:prstGeom prst="rect">
                <a:avLst/>
              </a:prstGeom>
              <a:blipFill>
                <a:blip r:embed="rId3"/>
                <a:stretch>
                  <a:fillRect l="-15152" r="-121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2" name="组合 31">
            <a:extLst>
              <a:ext uri="{FF2B5EF4-FFF2-40B4-BE49-F238E27FC236}">
                <a16:creationId xmlns:a16="http://schemas.microsoft.com/office/drawing/2014/main" id="{A2BBE62F-3355-7C8E-3686-2F4281424803}"/>
              </a:ext>
            </a:extLst>
          </p:cNvPr>
          <p:cNvGrpSpPr/>
          <p:nvPr/>
        </p:nvGrpSpPr>
        <p:grpSpPr>
          <a:xfrm>
            <a:off x="587252" y="2012491"/>
            <a:ext cx="9032920" cy="1015664"/>
            <a:chOff x="587252" y="2012491"/>
            <a:chExt cx="9032920" cy="1015664"/>
          </a:xfrm>
        </p:grpSpPr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55DB8B0C-299F-A637-B12F-29AC1E0D768D}"/>
                </a:ext>
              </a:extLst>
            </p:cNvPr>
            <p:cNvSpPr txBox="1"/>
            <p:nvPr/>
          </p:nvSpPr>
          <p:spPr>
            <a:xfrm>
              <a:off x="587252" y="2012492"/>
              <a:ext cx="3343397" cy="101566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2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// </a:t>
              </a:r>
              <a:r>
                <a:rPr lang="zh-CN" altLang="en-US" sz="12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算法 </a:t>
              </a:r>
              <a:r>
                <a:rPr lang="en-US" altLang="zh-CN" sz="12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A </a:t>
              </a:r>
              <a:r>
                <a:rPr lang="zh-CN" altLang="en-US" sz="12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的时间复杂度：常数阶</a:t>
              </a:r>
              <a:endParaRPr lang="zh-CN" altLang="en-US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endParaRP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void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</a:t>
              </a:r>
              <a:r>
                <a:rPr lang="en-US" altLang="zh-CN" sz="1600" b="1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algorithm_A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(</a:t>
              </a: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int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n) {</a:t>
              </a: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dirty="0">
                  <a:solidFill>
                    <a:srgbClr val="000000"/>
                  </a:solidFill>
                  <a:latin typeface="Consolas" panose="020B0609020204030204" pitchFamily="49" charset="0"/>
                </a:rPr>
                <a:t>    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cout &lt;&lt; 0 &lt;&lt; </a:t>
              </a:r>
              <a:r>
                <a:rPr lang="en-US" altLang="zh-CN" sz="1600" b="1" dirty="0">
                  <a:solidFill>
                    <a:srgbClr val="642880"/>
                  </a:solidFill>
                  <a:effectLst/>
                  <a:latin typeface="Consolas" panose="020B0609020204030204" pitchFamily="49" charset="0"/>
                </a:rPr>
                <a:t>endl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;</a:t>
              </a: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}</a:t>
              </a:r>
            </a:p>
          </p:txBody>
        </p:sp>
        <p:sp>
          <p:nvSpPr>
            <p:cNvPr id="17" name="矩形: 圆角 16">
              <a:extLst>
                <a:ext uri="{FF2B5EF4-FFF2-40B4-BE49-F238E27FC236}">
                  <a16:creationId xmlns:a16="http://schemas.microsoft.com/office/drawing/2014/main" id="{D3A62C5B-7DB7-47B2-5844-7E3A1F387AEC}"/>
                </a:ext>
              </a:extLst>
            </p:cNvPr>
            <p:cNvSpPr/>
            <p:nvPr/>
          </p:nvSpPr>
          <p:spPr>
            <a:xfrm>
              <a:off x="3930649" y="2012491"/>
              <a:ext cx="5689523" cy="1015663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r>
                <a:rPr lang="zh-CN" altLang="en-US" sz="1600" dirty="0">
                  <a:solidFill>
                    <a:srgbClr val="C00000"/>
                  </a:solidFill>
                </a:rPr>
                <a:t>算法 </a:t>
              </a:r>
              <a:r>
                <a:rPr lang="en-US" altLang="zh-CN" sz="1600" dirty="0">
                  <a:solidFill>
                    <a:srgbClr val="C00000"/>
                  </a:solidFill>
                </a:rPr>
                <a:t>A:   </a:t>
              </a:r>
            </a:p>
            <a:p>
              <a:r>
                <a:rPr lang="zh-CN" altLang="en-US" sz="1600" dirty="0">
                  <a:solidFill>
                    <a:srgbClr val="C00000"/>
                  </a:solidFill>
                </a:rPr>
                <a:t>只有 </a:t>
              </a:r>
              <a:r>
                <a:rPr lang="en-US" altLang="zh-CN" sz="1600" dirty="0">
                  <a:solidFill>
                    <a:srgbClr val="C00000"/>
                  </a:solidFill>
                </a:rPr>
                <a:t>1 </a:t>
              </a:r>
              <a:r>
                <a:rPr lang="zh-CN" altLang="en-US" sz="1600" dirty="0">
                  <a:solidFill>
                    <a:srgbClr val="C00000"/>
                  </a:solidFill>
                </a:rPr>
                <a:t>个打印操作，算法运行时间不随着   增大而增长。我们称此算法的时间复杂度为“</a:t>
              </a:r>
              <a:r>
                <a:rPr lang="zh-CN" altLang="en-US" sz="1600" b="1" dirty="0">
                  <a:solidFill>
                    <a:srgbClr val="C00000"/>
                  </a:solidFill>
                </a:rPr>
                <a:t>常数阶</a:t>
              </a:r>
              <a:r>
                <a:rPr lang="zh-CN" altLang="en-US" sz="1600" dirty="0">
                  <a:solidFill>
                    <a:srgbClr val="C00000"/>
                  </a:solidFill>
                </a:rPr>
                <a:t>”。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文本框 25">
                  <a:extLst>
                    <a:ext uri="{FF2B5EF4-FFF2-40B4-BE49-F238E27FC236}">
                      <a16:creationId xmlns:a16="http://schemas.microsoft.com/office/drawing/2014/main" id="{C140F395-2D31-1EE8-0279-2B2A26505F2B}"/>
                    </a:ext>
                  </a:extLst>
                </p:cNvPr>
                <p:cNvSpPr txBox="1"/>
                <p:nvPr/>
              </p:nvSpPr>
              <p:spPr>
                <a:xfrm>
                  <a:off x="7687546" y="2278052"/>
                  <a:ext cx="213200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𝒏</m:t>
                        </m:r>
                      </m:oMath>
                    </m:oMathPara>
                  </a14:m>
                  <a:endParaRPr lang="zh-CN" altLang="en-US" b="1" dirty="0">
                    <a:solidFill>
                      <a:srgbClr val="C00000"/>
                    </a:solidFill>
                  </a:endParaRPr>
                </a:p>
              </p:txBody>
            </p:sp>
          </mc:Choice>
          <mc:Fallback xmlns="">
            <p:sp>
              <p:nvSpPr>
                <p:cNvPr id="26" name="文本框 25">
                  <a:extLst>
                    <a:ext uri="{FF2B5EF4-FFF2-40B4-BE49-F238E27FC236}">
                      <a16:creationId xmlns:a16="http://schemas.microsoft.com/office/drawing/2014/main" id="{C140F395-2D31-1EE8-0279-2B2A26505F2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87546" y="2278052"/>
                  <a:ext cx="213200" cy="276999"/>
                </a:xfrm>
                <a:prstGeom prst="rect">
                  <a:avLst/>
                </a:prstGeom>
                <a:blipFill>
                  <a:blip r:embed="rId4"/>
                  <a:stretch>
                    <a:fillRect l="-14286" r="-14286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8FAFEB71-E0E1-235B-CB79-8253B018F19F}"/>
              </a:ext>
            </a:extLst>
          </p:cNvPr>
          <p:cNvGrpSpPr/>
          <p:nvPr/>
        </p:nvGrpSpPr>
        <p:grpSpPr>
          <a:xfrm>
            <a:off x="587252" y="3056701"/>
            <a:ext cx="9032920" cy="1815882"/>
            <a:chOff x="587252" y="3056701"/>
            <a:chExt cx="8956798" cy="1815882"/>
          </a:xfrm>
        </p:grpSpPr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8B81877-D4EA-8AA2-2B9A-6563FFD3C7F9}"/>
                </a:ext>
              </a:extLst>
            </p:cNvPr>
            <p:cNvSpPr txBox="1"/>
            <p:nvPr/>
          </p:nvSpPr>
          <p:spPr>
            <a:xfrm>
              <a:off x="587252" y="3056701"/>
              <a:ext cx="3343397" cy="1815882"/>
            </a:xfrm>
            <a:prstGeom prst="rect">
              <a:avLst/>
            </a:prstGeom>
            <a:solidFill>
              <a:srgbClr val="D8EDE5"/>
            </a:solidFill>
          </p:spPr>
          <p:txBody>
            <a:bodyPr wrap="square">
              <a:sp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// </a:t>
              </a:r>
              <a:r>
                <a:rPr lang="zh-CN" altLang="en-US" sz="16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算法 </a:t>
              </a:r>
              <a:r>
                <a:rPr lang="en-US" altLang="zh-CN" sz="16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B </a:t>
              </a:r>
              <a:r>
                <a:rPr lang="zh-CN" altLang="en-US" sz="16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的时间复杂度：线性阶</a:t>
              </a:r>
              <a:endParaRPr lang="zh-CN" altLang="en-US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endParaRP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void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</a:t>
              </a:r>
              <a:r>
                <a:rPr lang="en-US" altLang="zh-CN" sz="1600" b="1" dirty="0" err="1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algorithm_B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(</a:t>
              </a: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int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n) { </a:t>
              </a: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000000"/>
                  </a:solidFill>
                  <a:latin typeface="Consolas" panose="020B0609020204030204" pitchFamily="49" charset="0"/>
                </a:rPr>
                <a:t> </a:t>
              </a: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for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(</a:t>
              </a: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int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</a:t>
              </a:r>
              <a:r>
                <a:rPr lang="en-US" altLang="zh-CN" sz="1600" dirty="0" err="1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i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= 0; </a:t>
              </a:r>
              <a:r>
                <a:rPr lang="en-US" altLang="zh-CN" sz="1600" dirty="0" err="1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i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&lt; n; </a:t>
              </a:r>
              <a:r>
                <a:rPr lang="en-US" altLang="zh-CN" sz="1600" dirty="0" err="1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i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++) {</a:t>
              </a:r>
            </a:p>
            <a:p>
              <a:pPr lvl="1"/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cout &lt;&lt; 0 &lt;&lt; </a:t>
              </a:r>
              <a:r>
                <a:rPr lang="en-US" altLang="zh-CN" sz="1600" b="1" dirty="0">
                  <a:solidFill>
                    <a:srgbClr val="642880"/>
                  </a:solidFill>
                  <a:effectLst/>
                  <a:latin typeface="Consolas" panose="020B0609020204030204" pitchFamily="49" charset="0"/>
                </a:rPr>
                <a:t>endl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;</a:t>
              </a:r>
            </a:p>
            <a:p>
              <a:pPr lvl="1"/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}</a:t>
              </a: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}</a:t>
              </a:r>
            </a:p>
          </p:txBody>
        </p:sp>
        <p:sp>
          <p:nvSpPr>
            <p:cNvPr id="20" name="矩形: 圆角 19">
              <a:extLst>
                <a:ext uri="{FF2B5EF4-FFF2-40B4-BE49-F238E27FC236}">
                  <a16:creationId xmlns:a16="http://schemas.microsoft.com/office/drawing/2014/main" id="{7BE79140-1C68-5588-B3DB-E5B735B3A127}"/>
                </a:ext>
              </a:extLst>
            </p:cNvPr>
            <p:cNvSpPr/>
            <p:nvPr/>
          </p:nvSpPr>
          <p:spPr>
            <a:xfrm>
              <a:off x="3924299" y="3063050"/>
              <a:ext cx="5619751" cy="1774814"/>
            </a:xfrm>
            <a:prstGeom prst="roundRect">
              <a:avLst>
                <a:gd name="adj" fmla="val 0"/>
              </a:avLst>
            </a:prstGeom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hueOff val="-3342512"/>
                <a:satOff val="-12663"/>
                <a:lumOff val="4207"/>
                <a:alphaOff val="0"/>
              </a:schemeClr>
            </a:fillRef>
            <a:effectRef idx="0">
              <a:schemeClr val="accent5">
                <a:tint val="50000"/>
                <a:hueOff val="-3342512"/>
                <a:satOff val="-12663"/>
                <a:lumOff val="4207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r>
                <a:rPr lang="zh-CN" altLang="en-US" sz="1600" dirty="0">
                  <a:solidFill>
                    <a:schemeClr val="accent6">
                      <a:lumMod val="75000"/>
                    </a:schemeClr>
                  </a:solidFill>
                </a:rPr>
                <a:t>算法 </a:t>
              </a:r>
              <a:r>
                <a:rPr lang="en-US" altLang="zh-CN" sz="1600" dirty="0">
                  <a:solidFill>
                    <a:schemeClr val="accent6">
                      <a:lumMod val="75000"/>
                    </a:schemeClr>
                  </a:solidFill>
                </a:rPr>
                <a:t>B:  </a:t>
              </a:r>
            </a:p>
            <a:p>
              <a:r>
                <a:rPr lang="zh-CN" altLang="en-US" sz="1600" dirty="0">
                  <a:solidFill>
                    <a:schemeClr val="accent6">
                      <a:lumMod val="75000"/>
                    </a:schemeClr>
                  </a:solidFill>
                </a:rPr>
                <a:t>打印操作需要循环 </a:t>
              </a:r>
              <a:r>
                <a:rPr lang="en-US" altLang="zh-CN" sz="1600" dirty="0">
                  <a:solidFill>
                    <a:schemeClr val="accent6">
                      <a:lumMod val="75000"/>
                    </a:schemeClr>
                  </a:solidFill>
                </a:rPr>
                <a:t>    </a:t>
              </a:r>
              <a:r>
                <a:rPr lang="zh-CN" altLang="en-US" sz="1600" dirty="0">
                  <a:solidFill>
                    <a:schemeClr val="accent6">
                      <a:lumMod val="75000"/>
                    </a:schemeClr>
                  </a:solidFill>
                </a:rPr>
                <a:t>次，算法运行时间随着     增大呈线性增长。</a:t>
              </a:r>
              <a:endParaRPr lang="en-US" altLang="zh-CN" sz="1600" dirty="0">
                <a:solidFill>
                  <a:schemeClr val="accent6">
                    <a:lumMod val="75000"/>
                  </a:schemeClr>
                </a:solidFill>
              </a:endParaRPr>
            </a:p>
            <a:p>
              <a:r>
                <a:rPr lang="zh-CN" altLang="en-US" sz="1600" dirty="0">
                  <a:solidFill>
                    <a:schemeClr val="accent6">
                      <a:lumMod val="75000"/>
                    </a:schemeClr>
                  </a:solidFill>
                </a:rPr>
                <a:t>此算法的时间复杂度被称为“</a:t>
              </a:r>
              <a:r>
                <a:rPr lang="zh-CN" altLang="en-US" sz="1600" b="1" dirty="0">
                  <a:solidFill>
                    <a:schemeClr val="accent6">
                      <a:lumMod val="75000"/>
                    </a:schemeClr>
                  </a:solidFill>
                </a:rPr>
                <a:t>线性阶</a:t>
              </a:r>
              <a:r>
                <a:rPr lang="zh-CN" altLang="en-US" sz="1600" dirty="0">
                  <a:solidFill>
                    <a:schemeClr val="accent6">
                      <a:lumMod val="75000"/>
                    </a:schemeClr>
                  </a:solidFill>
                </a:rPr>
                <a:t>”。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文本框 24">
                  <a:extLst>
                    <a:ext uri="{FF2B5EF4-FFF2-40B4-BE49-F238E27FC236}">
                      <a16:creationId xmlns:a16="http://schemas.microsoft.com/office/drawing/2014/main" id="{2902077E-EEED-03FD-3399-CB1359D8A85A}"/>
                    </a:ext>
                  </a:extLst>
                </p:cNvPr>
                <p:cNvSpPr txBox="1"/>
                <p:nvPr/>
              </p:nvSpPr>
              <p:spPr>
                <a:xfrm>
                  <a:off x="5675558" y="3306412"/>
                  <a:ext cx="237244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2000" b="1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𝒏</m:t>
                        </m:r>
                      </m:oMath>
                    </m:oMathPara>
                  </a14:m>
                  <a:endParaRPr lang="zh-CN" altLang="en-US" sz="2000" b="1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27" name="文本框 24">
                  <a:extLst>
                    <a:ext uri="{FF2B5EF4-FFF2-40B4-BE49-F238E27FC236}">
                      <a16:creationId xmlns:a16="http://schemas.microsoft.com/office/drawing/2014/main" id="{2902077E-EEED-03FD-3399-CB1359D8A85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675558" y="3306412"/>
                  <a:ext cx="237244" cy="307777"/>
                </a:xfrm>
                <a:prstGeom prst="rect">
                  <a:avLst/>
                </a:prstGeom>
                <a:blipFill>
                  <a:blip r:embed="rId5"/>
                  <a:stretch>
                    <a:fillRect l="-12821" r="-12821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文本框 24">
                  <a:extLst>
                    <a:ext uri="{FF2B5EF4-FFF2-40B4-BE49-F238E27FC236}">
                      <a16:creationId xmlns:a16="http://schemas.microsoft.com/office/drawing/2014/main" id="{A2A8C080-EA67-98FE-451C-9199880E5B51}"/>
                    </a:ext>
                  </a:extLst>
                </p:cNvPr>
                <p:cNvSpPr txBox="1"/>
                <p:nvPr/>
              </p:nvSpPr>
              <p:spPr>
                <a:xfrm>
                  <a:off x="7969812" y="3306411"/>
                  <a:ext cx="237244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2000" b="1" i="1" smtClean="0">
                            <a:solidFill>
                              <a:schemeClr val="accent6"/>
                            </a:solidFill>
                            <a:latin typeface="Cambria Math" panose="02040503050406030204" pitchFamily="18" charset="0"/>
                          </a:rPr>
                          <m:t>𝒏</m:t>
                        </m:r>
                      </m:oMath>
                    </m:oMathPara>
                  </a14:m>
                  <a:endParaRPr lang="zh-CN" altLang="en-US" sz="2000" b="1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28" name="文本框 24">
                  <a:extLst>
                    <a:ext uri="{FF2B5EF4-FFF2-40B4-BE49-F238E27FC236}">
                      <a16:creationId xmlns:a16="http://schemas.microsoft.com/office/drawing/2014/main" id="{A2A8C080-EA67-98FE-451C-9199880E5B5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69812" y="3306411"/>
                  <a:ext cx="237244" cy="307777"/>
                </a:xfrm>
                <a:prstGeom prst="rect">
                  <a:avLst/>
                </a:prstGeom>
                <a:blipFill>
                  <a:blip r:embed="rId6"/>
                  <a:stretch>
                    <a:fillRect l="-12821" r="-12821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AC0CD6A5-8325-329F-2374-2D18A81FEA3D}"/>
              </a:ext>
            </a:extLst>
          </p:cNvPr>
          <p:cNvGrpSpPr/>
          <p:nvPr/>
        </p:nvGrpSpPr>
        <p:grpSpPr>
          <a:xfrm>
            <a:off x="587253" y="4929540"/>
            <a:ext cx="9032919" cy="1569661"/>
            <a:chOff x="587253" y="4929540"/>
            <a:chExt cx="9032919" cy="1569661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42E07200-F3EC-4C37-67A7-717ABF399152}"/>
                </a:ext>
              </a:extLst>
            </p:cNvPr>
            <p:cNvSpPr txBox="1"/>
            <p:nvPr/>
          </p:nvSpPr>
          <p:spPr>
            <a:xfrm>
              <a:off x="587253" y="4929541"/>
              <a:ext cx="4467348" cy="1569660"/>
            </a:xfrm>
            <a:prstGeom prst="rect">
              <a:avLst/>
            </a:prstGeom>
            <a:solidFill>
              <a:srgbClr val="FBE5D6"/>
            </a:solidFill>
          </p:spPr>
          <p:txBody>
            <a:bodyPr wrap="square">
              <a:sp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// </a:t>
              </a:r>
              <a:r>
                <a:rPr lang="zh-CN" altLang="en-US" sz="16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算法 </a:t>
              </a:r>
              <a:r>
                <a:rPr lang="en-US" altLang="zh-CN" sz="16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C </a:t>
              </a:r>
              <a:r>
                <a:rPr lang="zh-CN" altLang="en-US" sz="1600" dirty="0">
                  <a:solidFill>
                    <a:srgbClr val="3F7F5F"/>
                  </a:solidFill>
                  <a:effectLst/>
                  <a:latin typeface="Consolas" panose="020B0609020204030204" pitchFamily="49" charset="0"/>
                </a:rPr>
                <a:t>的时间复杂度：常数阶</a:t>
              </a:r>
              <a:endParaRPr lang="zh-CN" altLang="en-US" sz="1600" dirty="0">
                <a:solidFill>
                  <a:srgbClr val="000000"/>
                </a:solidFill>
                <a:effectLst/>
                <a:latin typeface="Consolas" panose="020B0609020204030204" pitchFamily="49" charset="0"/>
              </a:endParaRP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void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</a:t>
              </a:r>
              <a:r>
                <a:rPr lang="en-US" altLang="zh-CN" sz="1600" b="1" dirty="0" err="1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algorithm_C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(</a:t>
              </a: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int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n) {</a:t>
              </a: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000000"/>
                  </a:solidFill>
                  <a:latin typeface="Consolas" panose="020B0609020204030204" pitchFamily="49" charset="0"/>
                </a:rPr>
                <a:t>   </a:t>
              </a: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for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(</a:t>
              </a:r>
              <a:r>
                <a:rPr lang="en-US" altLang="zh-CN" sz="1600" b="1" dirty="0">
                  <a:solidFill>
                    <a:srgbClr val="7F0055"/>
                  </a:solidFill>
                  <a:effectLst/>
                  <a:latin typeface="Consolas" panose="020B0609020204030204" pitchFamily="49" charset="0"/>
                </a:rPr>
                <a:t>int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</a:t>
              </a:r>
              <a:r>
                <a:rPr lang="en-US" altLang="zh-CN" sz="1600" dirty="0" err="1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i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= 0; </a:t>
              </a:r>
              <a:r>
                <a:rPr lang="en-US" altLang="zh-CN" sz="1600" dirty="0" err="1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i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 &lt; 1000000; </a:t>
              </a:r>
              <a:r>
                <a:rPr lang="en-US" altLang="zh-CN" sz="1600" dirty="0" err="1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i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++) {</a:t>
              </a:r>
            </a:p>
            <a:p>
              <a:pPr lvl="1"/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cout &lt;&lt; 0 &lt;&lt; </a:t>
              </a:r>
              <a:r>
                <a:rPr lang="en-US" altLang="zh-CN" sz="1600" b="1" dirty="0">
                  <a:solidFill>
                    <a:srgbClr val="642880"/>
                  </a:solidFill>
                  <a:effectLst/>
                  <a:latin typeface="Consolas" panose="020B0609020204030204" pitchFamily="49" charset="0"/>
                </a:rPr>
                <a:t>endl</a:t>
              </a: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;</a:t>
              </a:r>
            </a:p>
            <a:p>
              <a:pPr lvl="1"/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}</a:t>
              </a: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dirty="0">
                  <a:solidFill>
                    <a:srgbClr val="000000"/>
                  </a:solidFill>
                  <a:effectLst/>
                  <a:latin typeface="Consolas" panose="020B0609020204030204" pitchFamily="49" charset="0"/>
                </a:rPr>
                <a:t>}</a:t>
              </a:r>
            </a:p>
          </p:txBody>
        </p: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B36FB51-4216-9ED2-6DEE-8A0A2BE22B4A}"/>
                </a:ext>
              </a:extLst>
            </p:cNvPr>
            <p:cNvGrpSpPr/>
            <p:nvPr/>
          </p:nvGrpSpPr>
          <p:grpSpPr>
            <a:xfrm>
              <a:off x="5054601" y="4929540"/>
              <a:ext cx="4565571" cy="1569659"/>
              <a:chOff x="4362458" y="4533215"/>
              <a:chExt cx="4565571" cy="962956"/>
            </a:xfrm>
          </p:grpSpPr>
          <p:sp>
            <p:nvSpPr>
              <p:cNvPr id="23" name="矩形: 圆角 22">
                <a:extLst>
                  <a:ext uri="{FF2B5EF4-FFF2-40B4-BE49-F238E27FC236}">
                    <a16:creationId xmlns:a16="http://schemas.microsoft.com/office/drawing/2014/main" id="{6B13F11E-135D-A9C8-9084-FAAAB98E36C7}"/>
                  </a:ext>
                </a:extLst>
              </p:cNvPr>
              <p:cNvSpPr/>
              <p:nvPr/>
            </p:nvSpPr>
            <p:spPr>
              <a:xfrm>
                <a:off x="4362458" y="4533215"/>
                <a:ext cx="4565571" cy="962956"/>
              </a:xfrm>
              <a:prstGeom prst="roundRect">
                <a:avLst>
                  <a:gd name="adj" fmla="val 0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tint val="50000"/>
                  <a:hueOff val="-6685025"/>
                  <a:satOff val="-25325"/>
                  <a:lumOff val="8413"/>
                  <a:alphaOff val="0"/>
                </a:schemeClr>
              </a:fillRef>
              <a:effectRef idx="0">
                <a:schemeClr val="accent5">
                  <a:tint val="50000"/>
                  <a:hueOff val="-6685025"/>
                  <a:satOff val="-25325"/>
                  <a:lumOff val="8413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r>
                  <a:rPr lang="zh-CN" altLang="en-US" sz="1600" dirty="0">
                    <a:solidFill>
                      <a:schemeClr val="accent2">
                        <a:lumMod val="75000"/>
                      </a:schemeClr>
                    </a:solidFill>
                  </a:rPr>
                  <a:t>算法 </a:t>
                </a:r>
                <a:r>
                  <a:rPr lang="en-US" altLang="zh-CN" sz="1600" dirty="0">
                    <a:solidFill>
                      <a:schemeClr val="accent2">
                        <a:lumMod val="75000"/>
                      </a:schemeClr>
                    </a:solidFill>
                  </a:rPr>
                  <a:t>C: </a:t>
                </a:r>
              </a:p>
              <a:p>
                <a:r>
                  <a:rPr lang="en-US" altLang="zh-CN" sz="1600" dirty="0">
                    <a:solidFill>
                      <a:schemeClr val="accent2">
                        <a:lumMod val="75000"/>
                      </a:schemeClr>
                    </a:solidFill>
                  </a:rPr>
                  <a:t> </a:t>
                </a:r>
                <a:r>
                  <a:rPr lang="zh-CN" altLang="en-US" sz="1600" dirty="0">
                    <a:solidFill>
                      <a:schemeClr val="accent2">
                        <a:lumMod val="75000"/>
                      </a:schemeClr>
                    </a:solidFill>
                  </a:rPr>
                  <a:t>打印操作需要循环 </a:t>
                </a:r>
                <a:r>
                  <a:rPr lang="en-US" altLang="zh-CN" sz="1600" dirty="0">
                    <a:solidFill>
                      <a:schemeClr val="accent2">
                        <a:lumMod val="75000"/>
                      </a:schemeClr>
                    </a:solidFill>
                  </a:rPr>
                  <a:t>1000000</a:t>
                </a:r>
                <a:r>
                  <a:rPr lang="zh-CN" altLang="en-US" sz="1600" dirty="0">
                    <a:solidFill>
                      <a:schemeClr val="accent2">
                        <a:lumMod val="75000"/>
                      </a:schemeClr>
                    </a:solidFill>
                  </a:rPr>
                  <a:t> 次，虽然运行时间很长，但它与输入数据大小 </a:t>
                </a:r>
                <a:r>
                  <a:rPr lang="en-US" altLang="zh-CN" sz="1600" dirty="0">
                    <a:solidFill>
                      <a:schemeClr val="accent2">
                        <a:lumMod val="75000"/>
                      </a:schemeClr>
                    </a:solidFill>
                  </a:rPr>
                  <a:t>  </a:t>
                </a:r>
                <a:r>
                  <a:rPr lang="zh-CN" altLang="en-US" sz="1600" dirty="0">
                    <a:solidFill>
                      <a:schemeClr val="accent2">
                        <a:lumMod val="75000"/>
                      </a:schemeClr>
                    </a:solidFill>
                  </a:rPr>
                  <a:t>无关。因此 </a:t>
                </a:r>
                <a:r>
                  <a:rPr lang="en-US" altLang="zh-CN" sz="1600" dirty="0">
                    <a:solidFill>
                      <a:schemeClr val="accent2">
                        <a:lumMod val="75000"/>
                      </a:schemeClr>
                    </a:solidFill>
                  </a:rPr>
                  <a:t>C </a:t>
                </a:r>
                <a:r>
                  <a:rPr lang="zh-CN" altLang="en-US" sz="1600" dirty="0">
                    <a:solidFill>
                      <a:schemeClr val="accent2">
                        <a:lumMod val="75000"/>
                      </a:schemeClr>
                    </a:solidFill>
                  </a:rPr>
                  <a:t>的时间复杂度和 </a:t>
                </a:r>
                <a:r>
                  <a:rPr lang="en-US" altLang="zh-CN" sz="1600" dirty="0">
                    <a:solidFill>
                      <a:schemeClr val="accent2">
                        <a:lumMod val="75000"/>
                      </a:schemeClr>
                    </a:solidFill>
                  </a:rPr>
                  <a:t>A </a:t>
                </a:r>
                <a:r>
                  <a:rPr lang="zh-CN" altLang="en-US" sz="1600" dirty="0">
                    <a:solidFill>
                      <a:schemeClr val="accent2">
                        <a:lumMod val="75000"/>
                      </a:schemeClr>
                    </a:solidFill>
                  </a:rPr>
                  <a:t>相同，仍为“</a:t>
                </a:r>
                <a:r>
                  <a:rPr lang="zh-CN" altLang="en-US" sz="1600" b="1" dirty="0">
                    <a:solidFill>
                      <a:schemeClr val="accent2">
                        <a:lumMod val="75000"/>
                      </a:schemeClr>
                    </a:solidFill>
                  </a:rPr>
                  <a:t>常数阶</a:t>
                </a:r>
                <a:r>
                  <a:rPr lang="zh-CN" altLang="en-US" sz="1600" dirty="0">
                    <a:solidFill>
                      <a:schemeClr val="accent2">
                        <a:lumMod val="75000"/>
                      </a:schemeClr>
                    </a:solidFill>
                  </a:rPr>
                  <a:t>”</a:t>
                </a:r>
                <a:r>
                  <a:rPr lang="zh-CN" altLang="en-US" sz="1800" dirty="0"/>
                  <a:t>。</a:t>
                </a:r>
              </a:p>
              <a:p>
                <a:endParaRPr lang="zh-CN" altLang="en-US" dirty="0"/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9" name="文本框 24">
                    <a:extLst>
                      <a:ext uri="{FF2B5EF4-FFF2-40B4-BE49-F238E27FC236}">
                        <a16:creationId xmlns:a16="http://schemas.microsoft.com/office/drawing/2014/main" id="{D05EFB62-340E-7C53-DD55-2443D09F83E5}"/>
                      </a:ext>
                    </a:extLst>
                  </p:cNvPr>
                  <p:cNvSpPr txBox="1"/>
                  <p:nvPr/>
                </p:nvSpPr>
                <p:spPr>
                  <a:xfrm>
                    <a:off x="6645243" y="4825878"/>
                    <a:ext cx="237244" cy="188815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zh-CN" altLang="en-US" sz="2000" b="1" i="1" smtClean="0">
                              <a:solidFill>
                                <a:schemeClr val="accent2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</m:oMath>
                      </m:oMathPara>
                    </a14:m>
                    <a:endParaRPr lang="zh-CN" altLang="en-US" sz="2000" b="1" dirty="0">
                      <a:solidFill>
                        <a:schemeClr val="accent2">
                          <a:lumMod val="75000"/>
                        </a:schemeClr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29" name="文本框 24">
                    <a:extLst>
                      <a:ext uri="{FF2B5EF4-FFF2-40B4-BE49-F238E27FC236}">
                        <a16:creationId xmlns:a16="http://schemas.microsoft.com/office/drawing/2014/main" id="{D05EFB62-340E-7C53-DD55-2443D09F83E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645243" y="4825878"/>
                    <a:ext cx="237244" cy="188815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l="-12821" r="-12821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</p:spTree>
    <p:extLst>
      <p:ext uri="{BB962C8B-B14F-4D97-AF65-F5344CB8AC3E}">
        <p14:creationId xmlns:p14="http://schemas.microsoft.com/office/powerpoint/2010/main" val="1738691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22F183-73FF-50BB-6409-8A0AD2E71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空间复杂度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AA78B92D-FDC1-E4C4-C054-9397167FBD75}"/>
              </a:ext>
            </a:extLst>
          </p:cNvPr>
          <p:cNvSpPr txBox="1"/>
          <p:nvPr/>
        </p:nvSpPr>
        <p:spPr>
          <a:xfrm>
            <a:off x="361829" y="1284858"/>
            <a:ext cx="105950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CN" altLang="en-US" b="1" i="0" dirty="0">
                <a:solidFill>
                  <a:srgbClr val="333333"/>
                </a:solidFill>
                <a:effectLst/>
                <a:latin typeface="-apple-system"/>
              </a:rPr>
              <a:t>空间复杂度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-apple-system"/>
              </a:rPr>
              <a:t>：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PingFang SC"/>
              </a:rPr>
              <a:t>是对一个算法在运行过程中临时占用存储空间大小的一个度量，同样反映的是一个趋势。 </a:t>
            </a:r>
            <a:endParaRPr lang="en-US" altLang="zh-CN" b="0" i="0" dirty="0">
              <a:solidFill>
                <a:srgbClr val="000000"/>
              </a:solidFill>
              <a:effectLst/>
              <a:latin typeface="PingFang SC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zh-CN" altLang="en-US" b="0" i="0" dirty="0">
              <a:solidFill>
                <a:srgbClr val="333333"/>
              </a:solidFill>
              <a:effectLst/>
              <a:latin typeface="-apple-system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9C0FDC5-3494-E234-69F4-CE145CC15B01}"/>
              </a:ext>
            </a:extLst>
          </p:cNvPr>
          <p:cNvSpPr txBox="1"/>
          <p:nvPr/>
        </p:nvSpPr>
        <p:spPr>
          <a:xfrm>
            <a:off x="906448" y="6196904"/>
            <a:ext cx="290727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4000" b="0" i="0" dirty="0">
                <a:solidFill>
                  <a:srgbClr val="000000"/>
                </a:solidFill>
                <a:effectLst/>
                <a:latin typeface="PingFang SC"/>
              </a:rPr>
              <a:t> </a:t>
            </a:r>
            <a:endParaRPr lang="zh-CN" altLang="en-US" sz="4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1">
                <a:extLst>
                  <a:ext uri="{FF2B5EF4-FFF2-40B4-BE49-F238E27FC236}">
                    <a16:creationId xmlns:a16="http://schemas.microsoft.com/office/drawing/2014/main" id="{4D98EC97-41BA-526E-6241-65D9938ABB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548" y="1870802"/>
                <a:ext cx="11745954" cy="2554545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ffectLst/>
              <a:extLst>
                <a:ext uri="{91240B29-F687-4F45-9708-019B960494DF}">
                  <a14:hiddenLine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zh-CN" altLang="zh-CN" b="1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PingFang SC"/>
                  </a:rPr>
                  <a:t>1. 空间复杂度 </a:t>
                </a:r>
                <a14:m>
                  <m:oMath xmlns:m="http://schemas.openxmlformats.org/officeDocument/2006/math">
                    <m:r>
                      <a:rPr kumimoji="0" lang="zh-CN" altLang="zh-CN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  <a:ea typeface="PingFang SC"/>
                      </a:rPr>
                      <m:t>𝑶</m:t>
                    </m:r>
                    <m:r>
                      <a:rPr kumimoji="0" lang="zh-CN" altLang="zh-CN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  <a:ea typeface="PingFang SC"/>
                      </a:rPr>
                      <m:t>(</m:t>
                    </m:r>
                    <m:r>
                      <a:rPr kumimoji="0" lang="zh-CN" altLang="zh-CN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  <a:ea typeface="PingFang SC"/>
                      </a:rPr>
                      <m:t>𝟏</m:t>
                    </m:r>
                    <m:r>
                      <a:rPr kumimoji="0" lang="zh-CN" altLang="zh-CN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  <a:ea typeface="PingFang SC"/>
                      </a:rPr>
                      <m:t>)</m:t>
                    </m:r>
                  </m:oMath>
                </a14:m>
                <a:endParaRPr kumimoji="0" lang="zh-CN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zh-CN" altLang="zh-CN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PingFang SC"/>
                  </a:rPr>
                  <a:t>如果算法执行所需要的临时空间不随着某个变量 n 的大小而变化，即此算法空间复杂度为一个常量，可表示为 O(1);</a:t>
                </a:r>
                <a:endParaRPr kumimoji="0" lang="en-US" altLang="zh-CN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PingFang SC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altLang="zh-CN" sz="1600" dirty="0">
                    <a:solidFill>
                      <a:srgbClr val="0000FF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v</a:t>
                </a:r>
                <a:r>
                  <a:rPr kumimoji="0" lang="en-US" altLang="zh-CN" sz="1600" b="0" i="0" u="none" strike="noStrike" cap="none" normalizeH="0" baseline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oid </a:t>
                </a:r>
                <a:r>
                  <a:rPr kumimoji="0" lang="en-US" altLang="zh-CN" sz="1600" b="0" i="0" u="none" strike="noStrike" cap="none" normalizeH="0" baseline="0" dirty="0" err="1">
                    <a:ln>
                      <a:noFill/>
                    </a:ln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funA</a:t>
                </a:r>
                <a:r>
                  <a:rPr kumimoji="0" lang="en-US" altLang="zh-CN" sz="1600" b="0" i="0" u="none" strike="noStrike" cap="none" normalizeH="0" baseline="0" dirty="0">
                    <a:ln>
                      <a:noFill/>
                    </a:ln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(</a:t>
                </a:r>
                <a:r>
                  <a:rPr kumimoji="0" lang="en-US" altLang="zh-CN" sz="1600" b="0" i="0" u="none" strike="noStrike" cap="none" normalizeH="0" baseline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int</a:t>
                </a:r>
                <a:r>
                  <a:rPr kumimoji="0" lang="en-US" altLang="zh-CN" sz="1600" b="0" i="0" u="none" strike="noStrike" cap="none" normalizeH="0" baseline="0" dirty="0">
                    <a:ln>
                      <a:noFill/>
                    </a:ln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n)</a:t>
                </a:r>
                <a:r>
                  <a:rPr kumimoji="0" lang="en-US" altLang="zh-CN" sz="1600" b="0" i="0" u="none" strike="noStrike" cap="none" normalizeH="0" baseline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{</a:t>
                </a:r>
                <a:endParaRPr kumimoji="0" lang="zh-CN" altLang="zh-CN" sz="1600" b="0" i="0" u="none" strike="noStrike" cap="none" normalizeH="0" baseline="0" dirty="0">
                  <a:ln>
                    <a:noFill/>
                  </a:ln>
                  <a:solidFill>
                    <a:srgbClr val="0000FF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lvl="1"/>
                <a:r>
                  <a:rPr kumimoji="0" lang="en-US" altLang="zh-CN" sz="1600" b="0" i="0" u="none" strike="noStrike" cap="none" normalizeH="0" baseline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int</a:t>
                </a:r>
                <a:r>
                  <a:rPr kumimoji="0" lang="zh-CN" altLang="zh-CN" sz="1600" b="0" i="0" u="none" strike="noStrike" cap="none" normalizeH="0" baseline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i = </a:t>
                </a:r>
                <a:r>
                  <a:rPr kumimoji="0" lang="zh-CN" altLang="zh-CN" sz="1600" b="0" i="0" u="none" strike="noStrike" cap="none" normalizeH="0" baseline="0" dirty="0">
                    <a:ln>
                      <a:noFill/>
                    </a:ln>
                    <a:solidFill>
                      <a:srgbClr val="880000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  <a:r>
                  <a:rPr kumimoji="0" lang="zh-CN" altLang="zh-CN" sz="1600" b="0" i="0" u="none" strike="noStrike" cap="none" normalizeH="0" baseline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; </a:t>
                </a:r>
                <a:endParaRPr kumimoji="0" lang="en-US" altLang="zh-CN" sz="1600" b="0" i="0" u="none" strike="noStrike" cap="none" normalizeH="0" baseline="0" dirty="0">
                  <a:ln>
                    <a:noFill/>
                  </a:ln>
                  <a:solidFill>
                    <a:srgbClr val="444444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lvl="1"/>
                <a:r>
                  <a:rPr kumimoji="0" lang="en-US" altLang="zh-CN" sz="1600" b="0" i="0" u="none" strike="noStrike" cap="none" normalizeH="0" baseline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int</a:t>
                </a:r>
                <a:r>
                  <a:rPr kumimoji="0" lang="zh-CN" altLang="zh-CN" sz="1600" b="0" i="0" u="none" strike="noStrike" cap="none" normalizeH="0" baseline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j = </a:t>
                </a:r>
                <a:r>
                  <a:rPr kumimoji="0" lang="zh-CN" altLang="zh-CN" sz="1600" b="0" i="0" u="none" strike="noStrike" cap="none" normalizeH="0" baseline="0" dirty="0">
                    <a:ln>
                      <a:noFill/>
                    </a:ln>
                    <a:solidFill>
                      <a:srgbClr val="880000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2</a:t>
                </a:r>
                <a:r>
                  <a:rPr kumimoji="0" lang="zh-CN" altLang="zh-CN" sz="1600" b="0" i="0" u="none" strike="noStrike" cap="none" normalizeH="0" baseline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; </a:t>
                </a:r>
                <a:endParaRPr kumimoji="0" lang="en-US" altLang="zh-CN" sz="1600" b="0" i="0" u="none" strike="noStrike" cap="none" normalizeH="0" baseline="0" dirty="0">
                  <a:ln>
                    <a:noFill/>
                  </a:ln>
                  <a:solidFill>
                    <a:srgbClr val="444444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lvl="1"/>
                <a:r>
                  <a:rPr kumimoji="0" lang="zh-CN" altLang="zh-CN" sz="1600" b="0" i="0" u="none" strike="noStrike" cap="none" normalizeH="0" baseline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++i; </a:t>
                </a:r>
                <a:endParaRPr kumimoji="0" lang="en-US" altLang="zh-CN" sz="1600" b="0" i="0" u="none" strike="noStrike" cap="none" normalizeH="0" baseline="0" dirty="0">
                  <a:ln>
                    <a:noFill/>
                  </a:ln>
                  <a:solidFill>
                    <a:srgbClr val="444444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lvl="1"/>
                <a:r>
                  <a:rPr kumimoji="0" lang="zh-CN" altLang="zh-CN" sz="1600" b="0" i="0" u="none" strike="noStrike" cap="none" normalizeH="0" baseline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j++; </a:t>
                </a:r>
                <a:endParaRPr kumimoji="0" lang="en-US" altLang="zh-CN" sz="1600" b="0" i="0" u="none" strike="noStrike" cap="none" normalizeH="0" baseline="0" dirty="0">
                  <a:ln>
                    <a:noFill/>
                  </a:ln>
                  <a:solidFill>
                    <a:srgbClr val="444444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lvl="1"/>
                <a:r>
                  <a:rPr kumimoji="0" lang="en-US" altLang="zh-CN" sz="1600" b="0" i="0" u="none" strike="noStrike" cap="none" normalizeH="0" baseline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int</a:t>
                </a:r>
                <a:r>
                  <a:rPr kumimoji="0" lang="zh-CN" altLang="zh-CN" sz="1600" b="0" i="0" u="none" strike="noStrike" cap="none" normalizeH="0" baseline="0" dirty="0">
                    <a:ln>
                      <a:noFill/>
                    </a:ln>
                    <a:solidFill>
                      <a:srgbClr val="444444"/>
                    </a:solidFill>
                    <a:effectLst/>
                    <a:latin typeface="Courier New" panose="02070309020205020404" pitchFamily="49" charset="0"/>
                    <a:cs typeface="Courier New" panose="02070309020205020404" pitchFamily="49" charset="0"/>
                  </a:rPr>
                  <a:t> m = i + j; </a:t>
                </a:r>
                <a:endParaRPr kumimoji="0" lang="en-US" altLang="zh-CN" sz="1600" b="0" i="0" u="none" strike="noStrike" cap="none" normalizeH="0" baseline="0" dirty="0">
                  <a:ln>
                    <a:noFill/>
                  </a:ln>
                  <a:solidFill>
                    <a:srgbClr val="444444"/>
                  </a:solidFill>
                  <a:effectLst/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altLang="zh-CN" sz="1600" dirty="0">
                    <a:solidFill>
                      <a:srgbClr val="444444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}</a:t>
                </a:r>
                <a:endParaRPr kumimoji="0" lang="zh-CN" altLang="zh-CN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zh-CN" altLang="zh-CN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PingFang SC"/>
                  </a:rPr>
                  <a:t>代码中的 i, j, m 所分配的空间都不随着数据量变化，因此它的空间复杂度为 O(1)</a:t>
                </a:r>
                <a:endParaRPr kumimoji="0" lang="zh-CN" altLang="zh-CN" sz="4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7" name="Rectangle 1">
                <a:extLst>
                  <a:ext uri="{FF2B5EF4-FFF2-40B4-BE49-F238E27FC236}">
                    <a16:creationId xmlns:a16="http://schemas.microsoft.com/office/drawing/2014/main" id="{4D98EC97-41BA-526E-6241-65D9938ABB8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1548" y="1870802"/>
                <a:ext cx="11745954" cy="2554545"/>
              </a:xfrm>
              <a:prstGeom prst="rect">
                <a:avLst/>
              </a:prstGeom>
              <a:blipFill>
                <a:blip r:embed="rId2"/>
                <a:stretch>
                  <a:fillRect l="-1245" t="-2625" b="-5012"/>
                </a:stretch>
              </a:blip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8271796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A9B7971-9184-C1BB-20BD-C4FEE931D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A270DDE5-A44D-9EAC-D721-51D6DC51D4E0}"/>
                  </a:ext>
                </a:extLst>
              </p:cNvPr>
              <p:cNvSpPr txBox="1"/>
              <p:nvPr/>
            </p:nvSpPr>
            <p:spPr>
              <a:xfrm>
                <a:off x="116618" y="1151238"/>
                <a:ext cx="11635409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altLang="zh-CN" b="1" i="0" dirty="0">
                    <a:solidFill>
                      <a:srgbClr val="000000"/>
                    </a:solidFill>
                    <a:effectLst/>
                    <a:latin typeface="PingFang SC"/>
                  </a:rPr>
                  <a:t>2</a:t>
                </a:r>
                <a:r>
                  <a:rPr lang="zh-CN" altLang="en-US" b="1" i="0" dirty="0">
                    <a:solidFill>
                      <a:srgbClr val="000000"/>
                    </a:solidFill>
                    <a:effectLst/>
                    <a:latin typeface="PingFang SC"/>
                  </a:rPr>
                  <a:t>、空间复杂度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 smtClean="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1" i="1" dirty="0" smtClean="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</a:rPr>
                      <m:t>𝑵</m:t>
                    </m:r>
                    <m:r>
                      <a:rPr lang="en-US" altLang="zh-CN" b="1" i="1" dirty="0" smtClean="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b="1" i="0" dirty="0">
                  <a:solidFill>
                    <a:srgbClr val="000000"/>
                  </a:solidFill>
                  <a:effectLst/>
                  <a:latin typeface="PingFang SC"/>
                </a:endParaRPr>
              </a:p>
              <a:p>
                <a:pPr algn="l"/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PingFang SC"/>
                  </a:rPr>
                  <a:t>随着数据量变化，内存消耗呈线性变化的时候，我们称之为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PingFang SC"/>
                  </a:rPr>
                  <a:t>，如：</a:t>
                </a:r>
                <a:endParaRPr lang="en-US" altLang="zh-CN" b="0" i="0" dirty="0">
                  <a:solidFill>
                    <a:srgbClr val="333333"/>
                  </a:solidFill>
                  <a:effectLst/>
                  <a:latin typeface="PingFang SC"/>
                </a:endParaRPr>
              </a:p>
              <a:p>
                <a:pPr algn="l"/>
                <a:endParaRPr lang="zh-CN" altLang="en-US" b="0" i="0" dirty="0">
                  <a:solidFill>
                    <a:srgbClr val="333333"/>
                  </a:solidFill>
                  <a:effectLst/>
                  <a:latin typeface="PingFang SC"/>
                </a:endParaRPr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A270DDE5-A44D-9EAC-D721-51D6DC51D4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6618" y="1151238"/>
                <a:ext cx="11635409" cy="923330"/>
              </a:xfrm>
              <a:prstGeom prst="rect">
                <a:avLst/>
              </a:prstGeom>
              <a:blipFill>
                <a:blip r:embed="rId2"/>
                <a:stretch>
                  <a:fillRect l="-419" t="-397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ectangle 2">
            <a:extLst>
              <a:ext uri="{FF2B5EF4-FFF2-40B4-BE49-F238E27FC236}">
                <a16:creationId xmlns:a16="http://schemas.microsoft.com/office/drawing/2014/main" id="{1B1C9883-F6A2-3D62-DCF2-F42E7943C5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973" y="2074568"/>
            <a:ext cx="2715487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zh-CN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oid </a:t>
            </a:r>
            <a:r>
              <a:rPr lang="en-US" altLang="zh-CN" sz="16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A</a:t>
            </a:r>
            <a:r>
              <a:rPr lang="en-US" altLang="zh-CN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altLang="zh-CN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n){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zh-CN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] m =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n]</a:t>
            </a:r>
            <a:r>
              <a:rPr kumimoji="0" lang="en-US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zh-CN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i=1; i&lt;=n; ++i) </a:t>
            </a:r>
            <a:r>
              <a:rPr kumimoji="0" lang="en-US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en-US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m[</a:t>
            </a:r>
            <a:r>
              <a:rPr kumimoji="0" lang="en-US" altLang="zh-CN" sz="1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kumimoji="0" lang="en-US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i; </a:t>
            </a:r>
            <a:endParaRPr kumimoji="0" lang="en-US" altLang="zh-CN" sz="1600" b="0" i="0" u="none" strike="noStrike" cap="none" normalizeH="0" baseline="0" dirty="0">
              <a:ln>
                <a:noFill/>
              </a:ln>
              <a:solidFill>
                <a:srgbClr val="008080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en-US" altLang="zh-CN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zh-CN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lang="en-US" altLang="zh-CN" sz="4000" dirty="0">
              <a:latin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36D3112C-F57B-E2EF-B3A7-BE75314E8B5D}"/>
                  </a:ext>
                </a:extLst>
              </p:cNvPr>
              <p:cNvSpPr txBox="1"/>
              <p:nvPr/>
            </p:nvSpPr>
            <p:spPr>
              <a:xfrm>
                <a:off x="270344" y="3620681"/>
                <a:ext cx="6106602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altLang="zh-CN" b="1" i="0" dirty="0">
                    <a:solidFill>
                      <a:srgbClr val="000000"/>
                    </a:solidFill>
                    <a:effectLst/>
                    <a:latin typeface="PingFang SC"/>
                  </a:rPr>
                  <a:t>3</a:t>
                </a:r>
                <a:r>
                  <a:rPr lang="zh-CN" altLang="en-US" b="1" i="0" dirty="0">
                    <a:solidFill>
                      <a:srgbClr val="000000"/>
                    </a:solidFill>
                    <a:effectLst/>
                    <a:latin typeface="PingFang SC"/>
                  </a:rPr>
                  <a:t>、空间复杂度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altLang="zh-CN" b="1" i="1" dirty="0" smtClean="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1" i="1" dirty="0" smtClean="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</a:rPr>
                      <m:t>𝑵</m:t>
                    </m:r>
                    <m:r>
                      <a:rPr lang="en-US" altLang="zh-CN" b="1" i="1" baseline="30000" dirty="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</a:rPr>
                      <m:t>𝟐</m:t>
                    </m:r>
                    <m:r>
                      <a:rPr lang="en-US" altLang="zh-CN" b="1" i="1" dirty="0">
                        <a:solidFill>
                          <a:srgbClr val="000000"/>
                        </a:solidFill>
                        <a:effectLst/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b="1" i="0" dirty="0">
                  <a:solidFill>
                    <a:srgbClr val="000000"/>
                  </a:solidFill>
                  <a:effectLst/>
                  <a:latin typeface="PingFang SC"/>
                </a:endParaRPr>
              </a:p>
              <a:p>
                <a:pPr algn="l"/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PingFang SC"/>
                  </a:rPr>
                  <a:t>随着数据量的变化，内存消耗为平方变化，如：</a:t>
                </a:r>
              </a:p>
            </p:txBody>
          </p:sp>
        </mc:Choice>
        <mc:Fallback xmlns="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36D3112C-F57B-E2EF-B3A7-BE75314E8B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0344" y="3620681"/>
                <a:ext cx="6106602" cy="646331"/>
              </a:xfrm>
              <a:prstGeom prst="rect">
                <a:avLst/>
              </a:prstGeom>
              <a:blipFill>
                <a:blip r:embed="rId3"/>
                <a:stretch>
                  <a:fillRect l="-798" t="-5660" b="-1415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框 5">
            <a:extLst>
              <a:ext uri="{FF2B5EF4-FFF2-40B4-BE49-F238E27FC236}">
                <a16:creationId xmlns:a16="http://schemas.microsoft.com/office/drawing/2014/main" id="{BAB340E1-5177-9373-9D41-D87FFC809216}"/>
              </a:ext>
            </a:extLst>
          </p:cNvPr>
          <p:cNvSpPr txBox="1"/>
          <p:nvPr/>
        </p:nvSpPr>
        <p:spPr>
          <a:xfrm>
            <a:off x="439973" y="4402503"/>
            <a:ext cx="6106602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][]</a:t>
            </a:r>
            <a:r>
              <a:rPr lang="zh-CN" altLang="en-US" dirty="0"/>
              <a:t> arr = new 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zh-CN" altLang="en-US" dirty="0"/>
              <a:t>[n][n];</a:t>
            </a:r>
            <a:endParaRPr lang="en-US" altLang="zh-CN" dirty="0"/>
          </a:p>
          <a:p>
            <a:endParaRPr lang="zh-CN" altLang="en-US" dirty="0"/>
          </a:p>
          <a:p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 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=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i&lt;n; ++i)</a:t>
            </a:r>
            <a:r>
              <a:rPr lang="zh-CN" altLang="en-US" dirty="0"/>
              <a:t>{</a:t>
            </a:r>
          </a:p>
          <a:p>
            <a:r>
              <a:rPr lang="zh-CN" altLang="en-US" dirty="0"/>
              <a:t>  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 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j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j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n; ++</a:t>
            </a:r>
            <a:r>
              <a:rPr kumimoji="0" lang="en-US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j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zh-CN" altLang="en-US" dirty="0"/>
              <a:t>{</a:t>
            </a:r>
          </a:p>
          <a:p>
            <a:r>
              <a:rPr lang="zh-CN" altLang="en-US" dirty="0"/>
              <a:t>        arr[i][j] = new Random().nextInt();</a:t>
            </a:r>
          </a:p>
          <a:p>
            <a:r>
              <a:rPr lang="zh-CN" altLang="en-US" dirty="0"/>
              <a:t>    }</a:t>
            </a:r>
          </a:p>
          <a:p>
            <a:r>
              <a:rPr lang="zh-CN" alt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296913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3477D6D-2B7D-C06C-556A-EEFE9EA41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2 </a:t>
            </a:r>
            <a:r>
              <a:rPr lang="zh-CN" altLang="en-US" dirty="0"/>
              <a:t>算法 </a:t>
            </a:r>
            <a:r>
              <a:rPr lang="en-US" altLang="zh-CN" dirty="0"/>
              <a:t>A</a:t>
            </a:r>
            <a:r>
              <a:rPr lang="zh-CN" altLang="en-US" dirty="0"/>
              <a:t>、</a:t>
            </a:r>
            <a:r>
              <a:rPr lang="en-US" altLang="zh-CN" dirty="0"/>
              <a:t>B </a:t>
            </a:r>
            <a:r>
              <a:rPr lang="zh-CN" altLang="en-US" dirty="0"/>
              <a:t>和 </a:t>
            </a:r>
            <a:r>
              <a:rPr lang="en-US" altLang="zh-CN" dirty="0"/>
              <a:t>C </a:t>
            </a:r>
            <a:r>
              <a:rPr lang="zh-CN" altLang="en-US" dirty="0"/>
              <a:t>的时间增长趋势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3FCFAA3-0924-C84B-38CC-B96B3C2B71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687" y="1614654"/>
            <a:ext cx="7979089" cy="4235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2966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04B5C9-B329-624A-84CF-98761DA741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3</a:t>
            </a:r>
            <a:r>
              <a:rPr lang="zh-CN" altLang="en-US" dirty="0"/>
              <a:t>时间复杂度分析有哪些特点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658447C6-ADC2-8F54-A2FD-F1357A74E445}"/>
                  </a:ext>
                </a:extLst>
              </p:cNvPr>
              <p:cNvSpPr txBox="1"/>
              <p:nvPr/>
            </p:nvSpPr>
            <p:spPr>
              <a:xfrm>
                <a:off x="266413" y="1394709"/>
                <a:ext cx="11573079" cy="5174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1" dirty="0"/>
                  <a:t>相较于直接统计算法的运行时间，时间复杂度分析有哪些特点呢？</a:t>
                </a:r>
              </a:p>
              <a:p>
                <a:endParaRPr lang="zh-CN" altLang="en-US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1" dirty="0"/>
                  <a:t>时间复杂度能够有效评估算法效率</a:t>
                </a:r>
                <a:r>
                  <a:rPr lang="zh-CN" altLang="en-US" dirty="0"/>
                  <a:t>。</a:t>
                </a:r>
                <a:endParaRPr lang="en-US" altLang="zh-CN" dirty="0"/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例如，算法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B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的运行时间呈线性增长，在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&gt;1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 时比算法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A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更慢，在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&gt;1000000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时比算法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C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更慢。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事实上，只要输入数据大小 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足够大，复杂度为“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常数阶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”的算法一定优于“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线性阶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”的算法，这正是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时间增长趋势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的含义。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1" dirty="0"/>
                  <a:t>时间复杂度的推算方法更简便。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显然，</a:t>
                </a:r>
                <a:r>
                  <a:rPr lang="zh-CN" altLang="en-US" b="1" dirty="0">
                    <a:solidFill>
                      <a:srgbClr val="FF000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运行平台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和</a:t>
                </a:r>
                <a:r>
                  <a:rPr lang="zh-CN" altLang="en-US" dirty="0">
                    <a:solidFill>
                      <a:srgbClr val="FF000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计算操作类型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都与算法运行时间的</a:t>
                </a:r>
                <a:r>
                  <a:rPr lang="zh-CN" altLang="en-US" dirty="0">
                    <a:solidFill>
                      <a:srgbClr val="FF000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增长趋势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无关。因此在时间复杂度分析中，我们可以简单地</a:t>
                </a:r>
                <a:r>
                  <a:rPr lang="zh-CN" altLang="en-US" dirty="0">
                    <a:solidFill>
                      <a:srgbClr val="FF000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将所有计算操作的执行时间视为相同的“单位时间”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，从而将“计算操作运行时间统计”简化为“计算操作数量统计”，这样一来估算难度就大大降低了</a:t>
                </a:r>
                <a:r>
                  <a:rPr lang="zh-CN" altLang="en-US" dirty="0"/>
                  <a:t>。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b="1" dirty="0"/>
                  <a:t>时间复杂度也存在一定的局限性</a:t>
                </a:r>
                <a:r>
                  <a:rPr lang="zh-CN" altLang="en-US" dirty="0"/>
                  <a:t>。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例如，尽管算法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A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和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C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的时间复杂度相同，但实际运行时间差别很大。同样，尽管算法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B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的时间复杂度比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C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高，但在输入数据大小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较小时，算法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B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明显优于算法 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C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。对于此类情况，</a:t>
                </a:r>
                <a:r>
                  <a:rPr lang="zh-CN" altLang="en-US" dirty="0">
                    <a:solidFill>
                      <a:srgbClr val="FF000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我们时常难以仅凭时间复杂度判断算法效率的高低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。当然，尽管存在上述问题，</a:t>
                </a:r>
                <a:r>
                  <a:rPr lang="zh-CN" altLang="en-US" dirty="0">
                    <a:solidFill>
                      <a:srgbClr val="FF000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复杂度分析仍然是评判算法效率最有效且常用的方法。</a:t>
                </a: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658447C6-ADC2-8F54-A2FD-F1357A74E4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6413" y="1394709"/>
                <a:ext cx="11573079" cy="5174622"/>
              </a:xfrm>
              <a:prstGeom prst="rect">
                <a:avLst/>
              </a:prstGeom>
              <a:blipFill>
                <a:blip r:embed="rId2"/>
                <a:stretch>
                  <a:fillRect l="-474" t="-707" b="-4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40042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32C190F-8376-4B57-D0E6-4CC47E952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4 </a:t>
            </a:r>
            <a:r>
              <a:rPr lang="zh-CN" altLang="en-US" dirty="0"/>
              <a:t> 函数渐近上界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87E674E-FDCF-F9DE-EE38-CCAE08D9B7F8}"/>
              </a:ext>
            </a:extLst>
          </p:cNvPr>
          <p:cNvSpPr txBox="1"/>
          <p:nvPr/>
        </p:nvSpPr>
        <p:spPr>
          <a:xfrm>
            <a:off x="195923" y="1619221"/>
            <a:ext cx="5656237" cy="2585323"/>
          </a:xfrm>
          <a:prstGeom prst="rect">
            <a:avLst/>
          </a:prstGeom>
          <a:solidFill>
            <a:srgbClr val="F5F5F5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800" b="1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lgorithm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) {</a:t>
            </a:r>
          </a:p>
          <a:p>
            <a:pPr lvl="1"/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 = 1; 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+1 </a:t>
            </a:r>
            <a:endParaRPr lang="en-US" altLang="zh-CN" dirty="0">
              <a:solidFill>
                <a:srgbClr val="000000"/>
              </a:solidFill>
              <a:effectLst/>
              <a:highlight>
                <a:srgbClr val="FFFF00"/>
              </a:highlight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 = a + 1; 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+1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 = a + 2; 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+1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循环 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 </a:t>
            </a:r>
            <a:r>
              <a:rPr lang="zh-CN" altLang="en-US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次</a:t>
            </a:r>
            <a:endParaRPr lang="zh-CN" altLang="en-US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n; </a:t>
            </a:r>
            <a:r>
              <a:rPr lang="en-US" altLang="zh-CN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 	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+1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out &lt;&lt; 0 &lt;&lt; </a:t>
            </a:r>
            <a:r>
              <a:rPr lang="en-US" altLang="zh-CN" b="1" dirty="0">
                <a:solidFill>
                  <a:srgbClr val="642880"/>
                </a:solidFill>
                <a:effectLst/>
                <a:latin typeface="Consolas" panose="020B0609020204030204" pitchFamily="49" charset="0"/>
              </a:rPr>
              <a:t>endl</a:t>
            </a:r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		</a:t>
            </a:r>
            <a:r>
              <a:rPr lang="en-US" altLang="zh-CN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+1</a:t>
            </a:r>
            <a:endParaRPr lang="en-US" altLang="zh-CN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9E579A0-73E1-835D-97DA-1BDD8F7FF694}"/>
              </a:ext>
            </a:extLst>
          </p:cNvPr>
          <p:cNvSpPr txBox="1"/>
          <p:nvPr/>
        </p:nvSpPr>
        <p:spPr>
          <a:xfrm>
            <a:off x="195923" y="1178327"/>
            <a:ext cx="61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给定一个输入大小为 </a:t>
            </a:r>
            <a:r>
              <a:rPr lang="en-US" altLang="zh-CN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n 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的函数：</a:t>
            </a:r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61D0CC7-763C-2D3C-30FF-B68A5DD0F9B6}"/>
                  </a:ext>
                </a:extLst>
              </p:cNvPr>
              <p:cNvSpPr txBox="1"/>
              <p:nvPr/>
            </p:nvSpPr>
            <p:spPr>
              <a:xfrm>
                <a:off x="5852160" y="1710771"/>
                <a:ext cx="6106602" cy="25853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设算法的</a:t>
                </a:r>
                <a:r>
                  <a:rPr lang="zh-CN" altLang="en-US" b="1" i="0" dirty="0">
                    <a:solidFill>
                      <a:srgbClr val="FF000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操作数量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是一个关于输入数据大小</a:t>
                </a: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</a:rPr>
                      <m:t>𝒏</m:t>
                    </m:r>
                  </m:oMath>
                </a14:m>
                <a:r>
                  <a:rPr lang="en-US" altLang="zh-CN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的函数，记为：</a:t>
                </a:r>
                <a14:m>
                  <m:oMath xmlns:m="http://schemas.openxmlformats.org/officeDocument/2006/math">
                    <m:r>
                      <a:rPr lang="en-US" altLang="zh-CN" b="0" i="0" dirty="0" smtClean="0">
                        <a:solidFill>
                          <a:srgbClr val="1D1D2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b="1" i="1" dirty="0">
                        <a:solidFill>
                          <a:srgbClr val="1D1D20"/>
                        </a:solidFill>
                        <a:latin typeface="Cambria Math" panose="02040503050406030204" pitchFamily="18" charset="0"/>
                      </a:rPr>
                      <m:t>𝐓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</a:rPr>
                      <m:t>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则以上函数的</a:t>
                </a: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操作数量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为：</a:t>
                </a:r>
                <a:endParaRPr lang="en-US" altLang="zh-CN" b="0" i="0" dirty="0">
                  <a:solidFill>
                    <a:srgbClr val="1D1D20"/>
                  </a:solidFill>
                  <a:effectLst/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latin typeface="Cambria Math" panose="02040503050406030204" pitchFamily="18" charset="0"/>
                        </a:rPr>
                        <m:t>𝐓</m:t>
                      </m:r>
                      <m:d>
                        <m:dPr>
                          <m:ctrlP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1" i="1" dirty="0" smtClean="0">
                              <a:solidFill>
                                <a:srgbClr val="1D1D2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d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𝟑</m:t>
                      </m:r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altLang="zh-CN" b="1" i="1" dirty="0" smtClean="0">
                          <a:solidFill>
                            <a:srgbClr val="1D1D20"/>
                          </a:solidFill>
                          <a:effectLst/>
                          <a:latin typeface="Cambria Math" panose="02040503050406030204" pitchFamily="18" charset="0"/>
                        </a:rPr>
                        <m:t>𝒏</m:t>
                      </m:r>
                    </m:oMath>
                  </m:oMathPara>
                </a14:m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br>
                  <a:rPr lang="zh-CN" altLang="en-US" b="0" i="0" dirty="0">
                    <a:solidFill>
                      <a:srgbClr val="1D1D20"/>
                    </a:solidFill>
                    <a:effectLst/>
                    <a:latin typeface="-apple-system"/>
                  </a:rPr>
                </a:b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latin typeface="Cambria Math" panose="02040503050406030204" pitchFamily="18" charset="0"/>
                      </a:rPr>
                      <m:t>𝐓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d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-apple-system"/>
                  </a:rPr>
                  <a:t> 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是一次函数，说明其运行时间的</a:t>
                </a: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增长趋势是线性的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因此</a:t>
                </a:r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, 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它的</a:t>
                </a: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时间复杂度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是</a:t>
                </a: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线性阶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  <a:endParaRPr lang="en-US" altLang="zh-CN" b="0" i="0" dirty="0">
                  <a:solidFill>
                    <a:srgbClr val="1D1D20"/>
                  </a:solidFill>
                  <a:effectLst/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我们将线性阶的时间复杂度记为 </a:t>
                </a:r>
                <a:r>
                  <a:rPr lang="en-US" altLang="zh-CN" b="1" dirty="0">
                    <a:solidFill>
                      <a:srgbClr val="1D1D20"/>
                    </a:solidFill>
                  </a:rPr>
                  <a:t> O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d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-apple-system"/>
                  </a:rPr>
                  <a:t> 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表示函数 </a:t>
                </a:r>
                <a:r>
                  <a:rPr lang="en-US" altLang="zh-CN" b="1" dirty="0">
                    <a:solidFill>
                      <a:srgbClr val="1D1D2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latin typeface="Cambria Math" panose="02040503050406030204" pitchFamily="18" charset="0"/>
                      </a:rPr>
                      <m:t>𝐓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d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-apple-system"/>
                  </a:rPr>
                  <a:t> </a:t>
                </a:r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的渐近上界（</a:t>
                </a:r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asymptotic upper bound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）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-apple-system"/>
                  </a:rPr>
                  <a:t>。</a:t>
                </a:r>
                <a:endParaRPr lang="zh-CN" altLang="en-US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61D0CC7-763C-2D3C-30FF-B68A5DD0F9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52160" y="1710771"/>
                <a:ext cx="6106602" cy="2585323"/>
              </a:xfrm>
              <a:prstGeom prst="rect">
                <a:avLst/>
              </a:prstGeom>
              <a:blipFill>
                <a:blip r:embed="rId3"/>
                <a:stretch>
                  <a:fillRect l="-798" t="-2123" b="-306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927907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73EF804-8CED-2726-1674-322DF934F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4 </a:t>
            </a:r>
            <a:r>
              <a:rPr lang="zh-CN" altLang="en-US" dirty="0"/>
              <a:t> 函数渐近上界</a:t>
            </a:r>
            <a:r>
              <a:rPr lang="en-US" altLang="zh-CN" dirty="0"/>
              <a:t>-2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B8F586A-DE46-0018-AF8D-CAD89306C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843" y="1164038"/>
            <a:ext cx="8711813" cy="2741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367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864BB6-9DAB-5F58-0178-8A8DADA93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4 </a:t>
            </a:r>
            <a:r>
              <a:rPr lang="zh-CN" altLang="en-US" dirty="0"/>
              <a:t> 函数渐近上界</a:t>
            </a:r>
            <a:r>
              <a:rPr lang="en-US" altLang="zh-CN" dirty="0"/>
              <a:t>-3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5B2ABAC-8A50-E7F5-C83C-4D70F35B80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829" y="1280160"/>
            <a:ext cx="7515225" cy="5381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6881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864BB6-9DAB-5F58-0178-8A8DADA93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5 </a:t>
            </a:r>
            <a:r>
              <a:rPr lang="zh-CN" altLang="en-US" dirty="0"/>
              <a:t> 时间复杂度的推算方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947E2CF-9442-C1E5-4234-5A10CDC5DEE9}"/>
                  </a:ext>
                </a:extLst>
              </p:cNvPr>
              <p:cNvSpPr txBox="1"/>
              <p:nvPr/>
            </p:nvSpPr>
            <p:spPr>
              <a:xfrm>
                <a:off x="174928" y="1287621"/>
                <a:ext cx="11092070" cy="6801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根据定义，确定 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𝒇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)</m:t>
                    </m:r>
                  </m:oMath>
                </a14:m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之后，我们便可得到时间复杂度 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𝑶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𝒇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)) </m:t>
                    </m:r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  <a:r>
                  <a:rPr lang="en-US" altLang="zh-CN" dirty="0">
                    <a:solidFill>
                      <a:srgbClr val="1D1D2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那么如何确定渐近上界 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𝒇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) </m:t>
                    </m:r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呢？</a:t>
                </a:r>
                <a:endParaRPr lang="en-US" altLang="zh-CN" b="0" i="0" dirty="0">
                  <a:solidFill>
                    <a:srgbClr val="1D1D20"/>
                  </a:solidFill>
                  <a:effectLst/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总体分为两步：首先，</a:t>
                </a:r>
                <a:r>
                  <a:rPr lang="zh-CN" altLang="en-US" b="1" i="0" dirty="0">
                    <a:solidFill>
                      <a:srgbClr val="FF000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统计操作数量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；然后， </a:t>
                </a:r>
                <a:r>
                  <a:rPr lang="zh-CN" altLang="en-US" b="1" i="0" dirty="0">
                    <a:solidFill>
                      <a:srgbClr val="FF000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判断渐近上界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  <a:endParaRPr lang="zh-CN" altLang="en-US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8947E2CF-9442-C1E5-4234-5A10CDC5DE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928" y="1287621"/>
                <a:ext cx="11092070" cy="680123"/>
              </a:xfrm>
              <a:prstGeom prst="rect">
                <a:avLst/>
              </a:prstGeom>
              <a:blipFill>
                <a:blip r:embed="rId2"/>
                <a:stretch>
                  <a:fillRect l="-495" t="-2679" b="-125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本框 7">
            <a:extLst>
              <a:ext uri="{FF2B5EF4-FFF2-40B4-BE49-F238E27FC236}">
                <a16:creationId xmlns:a16="http://schemas.microsoft.com/office/drawing/2014/main" id="{E85712DB-4B5B-30D6-EFE9-7C15C842C3BA}"/>
              </a:ext>
            </a:extLst>
          </p:cNvPr>
          <p:cNvSpPr txBox="1"/>
          <p:nvPr/>
        </p:nvSpPr>
        <p:spPr>
          <a:xfrm>
            <a:off x="-15903" y="2240150"/>
            <a:ext cx="61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第一步：</a:t>
            </a:r>
            <a:r>
              <a:rPr lang="zh-CN" altLang="en-US" b="1" i="0" dirty="0">
                <a:solidFill>
                  <a:srgbClr val="1D1D20"/>
                </a:solidFill>
                <a:effectLst/>
                <a:latin typeface="-apple-system"/>
              </a:rPr>
              <a:t>统计操作数量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F0F067E-094A-57CA-5408-4FC7D9AF1BAD}"/>
                  </a:ext>
                </a:extLst>
              </p:cNvPr>
              <p:cNvSpPr txBox="1"/>
              <p:nvPr/>
            </p:nvSpPr>
            <p:spPr>
              <a:xfrm>
                <a:off x="699715" y="2609482"/>
                <a:ext cx="10842928" cy="20313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针对代码，逐行从上到下计算即可。然而，由于上述</a:t>
                </a: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b="1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𝐜</m:t>
                    </m:r>
                    <m:r>
                      <a:rPr lang="en-US" altLang="zh-CN" b="1" i="1" dirty="0">
                        <a:solidFill>
                          <a:srgbClr val="1D1D20"/>
                        </a:solidFill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·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𝒇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)) 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中的常数项 </a:t>
                </a:r>
                <a14:m>
                  <m:oMath xmlns:m="http://schemas.openxmlformats.org/officeDocument/2006/math">
                    <m:r>
                      <a:rPr lang="en-US" altLang="zh-CN" b="1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𝐜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可以取任意大小，因此操作数量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𝑻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中的各种</a:t>
                </a:r>
                <a:r>
                  <a:rPr lang="zh-CN" altLang="en-US" b="1" dirty="0">
                    <a:solidFill>
                      <a:srgbClr val="FF000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系数、常数项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都可以忽略。根据此原则，可以总结出以下计数简化技巧。</a:t>
                </a:r>
              </a:p>
              <a:p>
                <a:endParaRPr lang="zh-CN" altLang="en-US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忽略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𝑻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𝒏</m:t>
                        </m:r>
                      </m:e>
                    </m:d>
                  </m:oMath>
                </a14:m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中的常数项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因为它们都与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无关，因为</a:t>
                </a:r>
                <a:r>
                  <a:rPr lang="en-US" altLang="zh-CN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,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对时间复杂度不产生影响。</a:t>
                </a:r>
                <a:endParaRPr lang="en-US" altLang="zh-CN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省略</a:t>
                </a:r>
                <a14:m>
                  <m:oMath xmlns:m="http://schemas.openxmlformats.org/officeDocument/2006/math">
                    <m:r>
                      <a:rPr lang="en-US" altLang="zh-CN" b="1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 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𝑻</m:t>
                    </m:r>
                    <m:d>
                      <m:dPr>
                        <m:ctrlP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</m:ctrlPr>
                      </m:dPr>
                      <m:e>
                        <m:r>
                          <a:rPr lang="en-US" altLang="zh-CN" b="1" i="1" dirty="0" smtClean="0">
                            <a:solidFill>
                              <a:srgbClr val="1D1D20"/>
                            </a:solidFill>
                            <a:effectLst/>
                            <a:latin typeface="Cambria Math" panose="02040503050406030204" pitchFamily="18" charset="0"/>
                            <a:ea typeface="楷体" panose="02010609060101010101" pitchFamily="49" charset="-122"/>
                          </a:rPr>
                          <m:t>𝒏</m:t>
                        </m:r>
                      </m:e>
                    </m:d>
                  </m:oMath>
                </a14:m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 中所有系数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。  例如，循环 </a:t>
                </a:r>
                <a14:m>
                  <m:oMath xmlns:m="http://schemas.openxmlformats.org/officeDocument/2006/math">
                    <m:r>
                      <a:rPr lang="en-US" altLang="zh-CN" b="0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2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、</a:t>
                </a:r>
                <a:r>
                  <a:rPr lang="en-US" altLang="zh-CN" b="1" dirty="0">
                    <a:solidFill>
                      <a:srgbClr val="1D1D20"/>
                    </a:solidFill>
                    <a:effectLst/>
                    <a:ea typeface="楷体" panose="02010609060101010101" pitchFamily="49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b="1" i="0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𝟓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+</m:t>
                    </m:r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等，都可以简化记为 </a:t>
                </a:r>
                <a14:m>
                  <m:oMath xmlns:m="http://schemas.openxmlformats.org/officeDocument/2006/math">
                    <m:r>
                      <a:rPr lang="en-US" altLang="zh-CN" b="1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𝒏</m:t>
                    </m:r>
                  </m:oMath>
                </a14:m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次，因为前面的系数对时间复杂度没有影响。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b="1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循环嵌套时使用乘法。  </a:t>
                </a:r>
                <a:r>
                  <a:rPr lang="zh-CN" altLang="en-US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总操作数量等于外层循环和内层循环操作数量之积。</a:t>
                </a: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F0F067E-094A-57CA-5408-4FC7D9AF1B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9715" y="2609482"/>
                <a:ext cx="10842928" cy="2031325"/>
              </a:xfrm>
              <a:prstGeom prst="rect">
                <a:avLst/>
              </a:prstGeom>
              <a:blipFill>
                <a:blip r:embed="rId3"/>
                <a:stretch>
                  <a:fillRect l="-506" t="-2102" r="-450" b="-390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52156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0</TotalTime>
  <Words>3651</Words>
  <Application>Microsoft Office PowerPoint</Application>
  <PresentationFormat>宽屏</PresentationFormat>
  <Paragraphs>324</Paragraphs>
  <Slides>31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53" baseType="lpstr">
      <vt:lpstr>Coca-Cola Care Font KaiTi</vt:lpstr>
      <vt:lpstr>Microsoft JhengHei</vt:lpstr>
      <vt:lpstr>PingFang SC</vt:lpstr>
      <vt:lpstr>等线</vt:lpstr>
      <vt:lpstr>等线 Light</vt:lpstr>
      <vt:lpstr>楷体</vt:lpstr>
      <vt:lpstr>可口可乐在乎体 楷体</vt:lpstr>
      <vt:lpstr>宋体</vt:lpstr>
      <vt:lpstr>微软雅黑</vt:lpstr>
      <vt:lpstr>微软雅黑</vt:lpstr>
      <vt:lpstr>-apple-system</vt:lpstr>
      <vt:lpstr>Arial</vt:lpstr>
      <vt:lpstr>Calibri Light</vt:lpstr>
      <vt:lpstr>Cambria Math</vt:lpstr>
      <vt:lpstr>Consolas</vt:lpstr>
      <vt:lpstr>Courier New</vt:lpstr>
      <vt:lpstr>Fira Code</vt:lpstr>
      <vt:lpstr>Poppins</vt:lpstr>
      <vt:lpstr>Trebuchet MS</vt:lpstr>
      <vt:lpstr>Office Theme</vt:lpstr>
      <vt:lpstr>1_Office 主题​​</vt:lpstr>
      <vt:lpstr>think-cell Slide</vt:lpstr>
      <vt:lpstr>Time Complexity</vt:lpstr>
      <vt:lpstr>1.时间复杂度</vt:lpstr>
      <vt:lpstr>1.1 统计时间增长趋势</vt:lpstr>
      <vt:lpstr>1.2 算法 A、B 和 C 的时间增长趋势</vt:lpstr>
      <vt:lpstr>1.3时间复杂度分析有哪些特点</vt:lpstr>
      <vt:lpstr>1.4  函数渐近上界</vt:lpstr>
      <vt:lpstr>1.4  函数渐近上界-2</vt:lpstr>
      <vt:lpstr>1.4  函数渐近上界-3</vt:lpstr>
      <vt:lpstr>1.5  时间复杂度的推算方法</vt:lpstr>
      <vt:lpstr>1.5  时间复杂度的推算方法- 统计操作数量</vt:lpstr>
      <vt:lpstr>1.5  时间复杂度的推算方法-判断渐近上界</vt:lpstr>
      <vt:lpstr>1.6  常见时间复杂度类型</vt:lpstr>
      <vt:lpstr>1.6.2 常见类型 -常数阶、常数阶 </vt:lpstr>
      <vt:lpstr>1.6.3 常见类型 -平方阶 </vt:lpstr>
      <vt:lpstr>1.6.3 常见类型-平方阶 </vt:lpstr>
      <vt:lpstr>1.6.3 常见类型</vt:lpstr>
      <vt:lpstr>1.6.3 常见类型 –指数阶 </vt:lpstr>
      <vt:lpstr>1.6.3 常见类型 –指数阶 </vt:lpstr>
      <vt:lpstr>PowerPoint 演示文稿</vt:lpstr>
      <vt:lpstr>1.6.4 常见类型 –对数阶 </vt:lpstr>
      <vt:lpstr>1.6.4 常见类型 –对数阶 </vt:lpstr>
      <vt:lpstr>1.6.4 常见类型 –对数阶 </vt:lpstr>
      <vt:lpstr>1.6.5 常见类型 –线性对数阶？ </vt:lpstr>
      <vt:lpstr>1.6.5 常见类型 –线性对数阶 </vt:lpstr>
      <vt:lpstr>1.6.6 常见类型 –阶乘阶 </vt:lpstr>
      <vt:lpstr>1.6.6 常见类型 –阶乘阶 </vt:lpstr>
      <vt:lpstr>2.最差、最佳、平均时间复杂度</vt:lpstr>
      <vt:lpstr>2.最差、最佳、平均时间复杂度</vt:lpstr>
      <vt:lpstr>PowerPoint 演示文稿</vt:lpstr>
      <vt:lpstr>空间复杂度</vt:lpstr>
      <vt:lpstr>PowerPoint 演示文稿</vt:lpstr>
    </vt:vector>
  </TitlesOfParts>
  <Company>SwireCoca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me Complexity</dc:title>
  <dc:creator>Chen Nianlai(陈年来)</dc:creator>
  <cp:lastModifiedBy>Chen Nianlai(陈年来)</cp:lastModifiedBy>
  <cp:revision>31</cp:revision>
  <dcterms:created xsi:type="dcterms:W3CDTF">2024-09-21T03:38:18Z</dcterms:created>
  <dcterms:modified xsi:type="dcterms:W3CDTF">2024-09-22T04:16:06Z</dcterms:modified>
</cp:coreProperties>
</file>